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4A3182-6AF6-4B61-96B2-5299EFEE2796}" v="42" dt="2024-11-07T22:23:13.1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378" d="100"/>
          <a:sy n="378" d="100"/>
        </p:scale>
        <p:origin x="-11496" y="-83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y Cai" userId="a55f23fb-abc1-4758-8447-c3e330444441" providerId="ADAL" clId="{4CA665DE-1876-46DF-97D7-821D40E87081}"/>
    <pc:docChg chg="custSel addSld modSld modMainMaster">
      <pc:chgData name="Andy Cai" userId="a55f23fb-abc1-4758-8447-c3e330444441" providerId="ADAL" clId="{4CA665DE-1876-46DF-97D7-821D40E87081}" dt="2024-11-04T01:40:58.554" v="268" actId="680"/>
      <pc:docMkLst>
        <pc:docMk/>
      </pc:docMkLst>
      <pc:sldChg chg="addSp delSp modSp new mod">
        <pc:chgData name="Andy Cai" userId="a55f23fb-abc1-4758-8447-c3e330444441" providerId="ADAL" clId="{4CA665DE-1876-46DF-97D7-821D40E87081}" dt="2024-11-04T01:40:54.357" v="267" actId="20577"/>
        <pc:sldMkLst>
          <pc:docMk/>
          <pc:sldMk cId="1967445695" sldId="256"/>
        </pc:sldMkLst>
        <pc:spChg chg="mod">
          <ac:chgData name="Andy Cai" userId="a55f23fb-abc1-4758-8447-c3e330444441" providerId="ADAL" clId="{4CA665DE-1876-46DF-97D7-821D40E87081}" dt="2024-11-04T01:40:39.707" v="166" actId="948"/>
          <ac:spMkLst>
            <pc:docMk/>
            <pc:sldMk cId="1967445695" sldId="256"/>
            <ac:spMk id="2" creationId="{55661D88-AD8C-454F-5E4F-817B8E70A392}"/>
          </ac:spMkLst>
        </pc:spChg>
        <pc:spChg chg="mod">
          <ac:chgData name="Andy Cai" userId="a55f23fb-abc1-4758-8447-c3e330444441" providerId="ADAL" clId="{4CA665DE-1876-46DF-97D7-821D40E87081}" dt="2024-11-04T01:40:54.357" v="267" actId="20577"/>
          <ac:spMkLst>
            <pc:docMk/>
            <pc:sldMk cId="1967445695" sldId="256"/>
            <ac:spMk id="3" creationId="{6387374A-2A0E-1464-6F0E-C4B9B033CFC8}"/>
          </ac:spMkLst>
        </pc:spChg>
        <pc:spChg chg="add del mod modVis">
          <ac:chgData name="Andy Cai" userId="a55f23fb-abc1-4758-8447-c3e330444441" providerId="ADAL" clId="{4CA665DE-1876-46DF-97D7-821D40E87081}" dt="2024-11-04T01:40:25.114" v="46"/>
          <ac:spMkLst>
            <pc:docMk/>
            <pc:sldMk cId="1967445695" sldId="256"/>
            <ac:spMk id="4" creationId="{249232A6-F342-F607-47F9-2BB0BFEDBA7A}"/>
          </ac:spMkLst>
        </pc:spChg>
        <pc:spChg chg="add del mod modVis">
          <ac:chgData name="Andy Cai" userId="a55f23fb-abc1-4758-8447-c3e330444441" providerId="ADAL" clId="{4CA665DE-1876-46DF-97D7-821D40E87081}" dt="2024-11-04T01:40:34.032" v="114"/>
          <ac:spMkLst>
            <pc:docMk/>
            <pc:sldMk cId="1967445695" sldId="256"/>
            <ac:spMk id="6" creationId="{E65F6528-83A6-98A1-D137-73625BD533F1}"/>
          </ac:spMkLst>
        </pc:spChg>
        <pc:spChg chg="add del mod modVis">
          <ac:chgData name="Andy Cai" userId="a55f23fb-abc1-4758-8447-c3e330444441" providerId="ADAL" clId="{4CA665DE-1876-46DF-97D7-821D40E87081}" dt="2024-11-04T01:40:35.243" v="143"/>
          <ac:spMkLst>
            <pc:docMk/>
            <pc:sldMk cId="1967445695" sldId="256"/>
            <ac:spMk id="7" creationId="{66574DDC-B833-FE50-7394-DDC7F9297CDC}"/>
          </ac:spMkLst>
        </pc:spChg>
        <pc:spChg chg="add del mod modVis">
          <ac:chgData name="Andy Cai" userId="a55f23fb-abc1-4758-8447-c3e330444441" providerId="ADAL" clId="{4CA665DE-1876-46DF-97D7-821D40E87081}" dt="2024-11-04T01:40:39.733" v="187"/>
          <ac:spMkLst>
            <pc:docMk/>
            <pc:sldMk cId="1967445695" sldId="256"/>
            <ac:spMk id="8" creationId="{9A2DA905-4EC8-1DF4-9A9A-071F5E21015F}"/>
          </ac:spMkLst>
        </pc:spChg>
        <pc:graphicFrameChg chg="add mod ord modVis">
          <ac:chgData name="Andy Cai" userId="a55f23fb-abc1-4758-8447-c3e330444441" providerId="ADAL" clId="{4CA665DE-1876-46DF-97D7-821D40E87081}" dt="2024-11-04T01:40:39.735" v="189"/>
          <ac:graphicFrameMkLst>
            <pc:docMk/>
            <pc:sldMk cId="1967445695" sldId="256"/>
            <ac:graphicFrameMk id="5" creationId="{011A5761-531A-1666-FD26-AB4B5F278680}"/>
          </ac:graphicFrameMkLst>
        </pc:graphicFrameChg>
      </pc:sldChg>
      <pc:sldChg chg="new">
        <pc:chgData name="Andy Cai" userId="a55f23fb-abc1-4758-8447-c3e330444441" providerId="ADAL" clId="{4CA665DE-1876-46DF-97D7-821D40E87081}" dt="2024-11-04T01:40:58.554" v="268" actId="680"/>
        <pc:sldMkLst>
          <pc:docMk/>
          <pc:sldMk cId="2987476754" sldId="257"/>
        </pc:sldMkLst>
      </pc:sldChg>
      <pc:sldMasterChg chg="addSp delSp modSp mod">
        <pc:chgData name="Andy Cai" userId="a55f23fb-abc1-4758-8447-c3e330444441" providerId="ADAL" clId="{4CA665DE-1876-46DF-97D7-821D40E87081}" dt="2024-11-04T01:40:25.185" v="76"/>
        <pc:sldMasterMkLst>
          <pc:docMk/>
          <pc:sldMasterMk cId="702019741" sldId="2147483648"/>
        </pc:sldMasterMkLst>
        <pc:spChg chg="mod">
          <ac:chgData name="Andy Cai" userId="a55f23fb-abc1-4758-8447-c3e330444441" providerId="ADAL" clId="{4CA665DE-1876-46DF-97D7-821D40E87081}" dt="2024-11-04T01:40:25.082" v="25" actId="948"/>
          <ac:spMkLst>
            <pc:docMk/>
            <pc:sldMasterMk cId="702019741" sldId="2147483648"/>
            <ac:spMk id="2" creationId="{2F7E3EE0-BBD4-01A9-8B56-59176CDF52BE}"/>
          </ac:spMkLst>
        </pc:spChg>
        <pc:spChg chg="add del mod modVis">
          <ac:chgData name="Andy Cai" userId="a55f23fb-abc1-4758-8447-c3e330444441" providerId="ADAL" clId="{4CA665DE-1876-46DF-97D7-821D40E87081}" dt="2024-11-04T01:40:25.161" v="62"/>
          <ac:spMkLst>
            <pc:docMk/>
            <pc:sldMasterMk cId="702019741" sldId="2147483648"/>
            <ac:spMk id="7" creationId="{8E50256D-6237-5027-584F-E1AE61120348}"/>
          </ac:spMkLst>
        </pc:spChg>
        <pc:graphicFrameChg chg="add mod ord modVis">
          <ac:chgData name="Andy Cai" userId="a55f23fb-abc1-4758-8447-c3e330444441" providerId="ADAL" clId="{4CA665DE-1876-46DF-97D7-821D40E87081}" dt="2024-11-04T01:40:25.185" v="76"/>
          <ac:graphicFrameMkLst>
            <pc:docMk/>
            <pc:sldMasterMk cId="702019741" sldId="2147483648"/>
            <ac:graphicFrameMk id="8" creationId="{EFFA7627-AC72-0E8A-7CE3-97CE4754BE1A}"/>
          </ac:graphicFrameMkLst>
        </pc:graphicFrameChg>
      </pc:sldMasterChg>
    </pc:docChg>
  </pc:docChgLst>
  <pc:docChgLst>
    <pc:chgData name="Andy Cai" userId="560e248f8e6bbfc4" providerId="LiveId" clId="{844A3182-6AF6-4B61-96B2-5299EFEE2796}"/>
    <pc:docChg chg="custSel modSld">
      <pc:chgData name="Andy Cai" userId="560e248f8e6bbfc4" providerId="LiveId" clId="{844A3182-6AF6-4B61-96B2-5299EFEE2796}" dt="2024-11-07T22:23:13.118" v="151"/>
      <pc:docMkLst>
        <pc:docMk/>
      </pc:docMkLst>
      <pc:sldChg chg="addSp delSp modSp mod">
        <pc:chgData name="Andy Cai" userId="560e248f8e6bbfc4" providerId="LiveId" clId="{844A3182-6AF6-4B61-96B2-5299EFEE2796}" dt="2024-11-07T22:23:13.118" v="151"/>
        <pc:sldMkLst>
          <pc:docMk/>
          <pc:sldMk cId="2987476754" sldId="257"/>
        </pc:sldMkLst>
        <pc:spChg chg="del">
          <ac:chgData name="Andy Cai" userId="560e248f8e6bbfc4" providerId="LiveId" clId="{844A3182-6AF6-4B61-96B2-5299EFEE2796}" dt="2024-11-07T22:21:24.688" v="25" actId="478"/>
          <ac:spMkLst>
            <pc:docMk/>
            <pc:sldMk cId="2987476754" sldId="257"/>
            <ac:spMk id="3" creationId="{6199B0D6-BA64-4E0C-59D0-EC141D11F5DF}"/>
          </ac:spMkLst>
        </pc:spChg>
        <pc:grpChg chg="del mod">
          <ac:chgData name="Andy Cai" userId="560e248f8e6bbfc4" providerId="LiveId" clId="{844A3182-6AF6-4B61-96B2-5299EFEE2796}" dt="2024-11-07T22:21:16.876" v="19"/>
          <ac:grpSpMkLst>
            <pc:docMk/>
            <pc:sldMk cId="2987476754" sldId="257"/>
            <ac:grpSpMk id="20" creationId="{321A9263-131E-DAE2-F373-2A5C730EBB5A}"/>
          </ac:grpSpMkLst>
        </pc:grpChg>
        <pc:grpChg chg="del mod">
          <ac:chgData name="Andy Cai" userId="560e248f8e6bbfc4" providerId="LiveId" clId="{844A3182-6AF6-4B61-96B2-5299EFEE2796}" dt="2024-11-07T22:21:19.625" v="24"/>
          <ac:grpSpMkLst>
            <pc:docMk/>
            <pc:sldMk cId="2987476754" sldId="257"/>
            <ac:grpSpMk id="23" creationId="{24D6ED86-6ACB-6E66-0874-F52B434EE41D}"/>
          </ac:grpSpMkLst>
        </pc:grpChg>
        <pc:grpChg chg="del mod">
          <ac:chgData name="Andy Cai" userId="560e248f8e6bbfc4" providerId="LiveId" clId="{844A3182-6AF6-4B61-96B2-5299EFEE2796}" dt="2024-11-07T22:21:40.853" v="50"/>
          <ac:grpSpMkLst>
            <pc:docMk/>
            <pc:sldMk cId="2987476754" sldId="257"/>
            <ac:grpSpMk id="28" creationId="{838D267A-9BC8-26A9-725F-0FE0B10DA4DD}"/>
          </ac:grpSpMkLst>
        </pc:grpChg>
        <pc:grpChg chg="del mod">
          <ac:chgData name="Andy Cai" userId="560e248f8e6bbfc4" providerId="LiveId" clId="{844A3182-6AF6-4B61-96B2-5299EFEE2796}" dt="2024-11-07T22:21:50.464" v="58"/>
          <ac:grpSpMkLst>
            <pc:docMk/>
            <pc:sldMk cId="2987476754" sldId="257"/>
            <ac:grpSpMk id="47" creationId="{C32A20DA-FB96-1BCE-6045-3634C4CE764D}"/>
          </ac:grpSpMkLst>
        </pc:grpChg>
        <pc:grpChg chg="mod">
          <ac:chgData name="Andy Cai" userId="560e248f8e6bbfc4" providerId="LiveId" clId="{844A3182-6AF6-4B61-96B2-5299EFEE2796}" dt="2024-11-07T22:21:50.464" v="58"/>
          <ac:grpSpMkLst>
            <pc:docMk/>
            <pc:sldMk cId="2987476754" sldId="257"/>
            <ac:grpSpMk id="53" creationId="{AD3BEB48-87C5-B1A9-CA1D-A7704D68827A}"/>
          </ac:grpSpMkLst>
        </pc:grpChg>
        <pc:grpChg chg="del mod">
          <ac:chgData name="Andy Cai" userId="560e248f8e6bbfc4" providerId="LiveId" clId="{844A3182-6AF6-4B61-96B2-5299EFEE2796}" dt="2024-11-07T22:21:58.747" v="65"/>
          <ac:grpSpMkLst>
            <pc:docMk/>
            <pc:sldMk cId="2987476754" sldId="257"/>
            <ac:grpSpMk id="54" creationId="{D1FB3777-4D75-19B4-E2FD-10C6CD349D83}"/>
          </ac:grpSpMkLst>
        </pc:grpChg>
        <pc:grpChg chg="del mod">
          <ac:chgData name="Andy Cai" userId="560e248f8e6bbfc4" providerId="LiveId" clId="{844A3182-6AF6-4B61-96B2-5299EFEE2796}" dt="2024-11-07T22:23:03.403" v="135"/>
          <ac:grpSpMkLst>
            <pc:docMk/>
            <pc:sldMk cId="2987476754" sldId="257"/>
            <ac:grpSpMk id="58" creationId="{167962A0-7D19-1747-61B2-621E548C5F58}"/>
          </ac:grpSpMkLst>
        </pc:grpChg>
        <pc:grpChg chg="del mod">
          <ac:chgData name="Andy Cai" userId="560e248f8e6bbfc4" providerId="LiveId" clId="{844A3182-6AF6-4B61-96B2-5299EFEE2796}" dt="2024-11-07T22:22:09.318" v="76"/>
          <ac:grpSpMkLst>
            <pc:docMk/>
            <pc:sldMk cId="2987476754" sldId="257"/>
            <ac:grpSpMk id="65" creationId="{16B07490-4D42-DF10-E030-70AE7C05EBB7}"/>
          </ac:grpSpMkLst>
        </pc:grpChg>
        <pc:grpChg chg="del mod">
          <ac:chgData name="Andy Cai" userId="560e248f8e6bbfc4" providerId="LiveId" clId="{844A3182-6AF6-4B61-96B2-5299EFEE2796}" dt="2024-11-07T22:22:11.881" v="80"/>
          <ac:grpSpMkLst>
            <pc:docMk/>
            <pc:sldMk cId="2987476754" sldId="257"/>
            <ac:grpSpMk id="68" creationId="{8EA09524-FDC5-DB48-ECF5-DFDF0E9879D7}"/>
          </ac:grpSpMkLst>
        </pc:grpChg>
        <pc:grpChg chg="del mod">
          <ac:chgData name="Andy Cai" userId="560e248f8e6bbfc4" providerId="LiveId" clId="{844A3182-6AF6-4B61-96B2-5299EFEE2796}" dt="2024-11-07T22:22:18.819" v="84"/>
          <ac:grpSpMkLst>
            <pc:docMk/>
            <pc:sldMk cId="2987476754" sldId="257"/>
            <ac:grpSpMk id="72" creationId="{354D9446-D4BD-EB0E-BB62-938C304B74F4}"/>
          </ac:grpSpMkLst>
        </pc:grpChg>
        <pc:grpChg chg="del mod">
          <ac:chgData name="Andy Cai" userId="560e248f8e6bbfc4" providerId="LiveId" clId="{844A3182-6AF6-4B61-96B2-5299EFEE2796}" dt="2024-11-07T22:22:25.558" v="86"/>
          <ac:grpSpMkLst>
            <pc:docMk/>
            <pc:sldMk cId="2987476754" sldId="257"/>
            <ac:grpSpMk id="75" creationId="{AB087B98-EA1A-2276-5678-56DF763E02B7}"/>
          </ac:grpSpMkLst>
        </pc:grpChg>
        <pc:grpChg chg="del mod">
          <ac:chgData name="Andy Cai" userId="560e248f8e6bbfc4" providerId="LiveId" clId="{844A3182-6AF6-4B61-96B2-5299EFEE2796}" dt="2024-11-07T22:23:08.340" v="143"/>
          <ac:grpSpMkLst>
            <pc:docMk/>
            <pc:sldMk cId="2987476754" sldId="257"/>
            <ac:grpSpMk id="77" creationId="{7633A99A-69C8-3288-04B0-77EF8757774C}"/>
          </ac:grpSpMkLst>
        </pc:grpChg>
        <pc:grpChg chg="mod">
          <ac:chgData name="Andy Cai" userId="560e248f8e6bbfc4" providerId="LiveId" clId="{844A3182-6AF6-4B61-96B2-5299EFEE2796}" dt="2024-11-07T22:22:27.432" v="89"/>
          <ac:grpSpMkLst>
            <pc:docMk/>
            <pc:sldMk cId="2987476754" sldId="257"/>
            <ac:grpSpMk id="80" creationId="{6781624D-DEAB-E2E3-565A-1147566915EE}"/>
          </ac:grpSpMkLst>
        </pc:grpChg>
        <pc:grpChg chg="del mod">
          <ac:chgData name="Andy Cai" userId="560e248f8e6bbfc4" providerId="LiveId" clId="{844A3182-6AF6-4B61-96B2-5299EFEE2796}" dt="2024-11-07T22:22:47.468" v="114"/>
          <ac:grpSpMkLst>
            <pc:docMk/>
            <pc:sldMk cId="2987476754" sldId="257"/>
            <ac:grpSpMk id="102" creationId="{4914DC03-48E2-897D-169B-90A09DB3E31B}"/>
          </ac:grpSpMkLst>
        </pc:grpChg>
        <pc:grpChg chg="mod">
          <ac:chgData name="Andy Cai" userId="560e248f8e6bbfc4" providerId="LiveId" clId="{844A3182-6AF6-4B61-96B2-5299EFEE2796}" dt="2024-11-07T22:22:40.054" v="111"/>
          <ac:grpSpMkLst>
            <pc:docMk/>
            <pc:sldMk cId="2987476754" sldId="257"/>
            <ac:grpSpMk id="103" creationId="{308EC627-A401-19D5-868D-BA1BEF925FAF}"/>
          </ac:grpSpMkLst>
        </pc:grpChg>
        <pc:grpChg chg="del mod">
          <ac:chgData name="Andy Cai" userId="560e248f8e6bbfc4" providerId="LiveId" clId="{844A3182-6AF6-4B61-96B2-5299EFEE2796}" dt="2024-11-07T22:23:13.118" v="151"/>
          <ac:grpSpMkLst>
            <pc:docMk/>
            <pc:sldMk cId="2987476754" sldId="257"/>
            <ac:grpSpMk id="104" creationId="{4136719F-8884-C761-8BEF-C8BEE1482F02}"/>
          </ac:grpSpMkLst>
        </pc:grpChg>
        <pc:grpChg chg="mod">
          <ac:chgData name="Andy Cai" userId="560e248f8e6bbfc4" providerId="LiveId" clId="{844A3182-6AF6-4B61-96B2-5299EFEE2796}" dt="2024-11-07T22:22:40.054" v="111"/>
          <ac:grpSpMkLst>
            <pc:docMk/>
            <pc:sldMk cId="2987476754" sldId="257"/>
            <ac:grpSpMk id="105" creationId="{6E76583C-4AE5-10CA-E352-DCE899D0125E}"/>
          </ac:grpSpMkLst>
        </pc:grpChg>
        <pc:grpChg chg="del mod">
          <ac:chgData name="Andy Cai" userId="560e248f8e6bbfc4" providerId="LiveId" clId="{844A3182-6AF6-4B61-96B2-5299EFEE2796}" dt="2024-11-07T22:22:52.902" v="126"/>
          <ac:grpSpMkLst>
            <pc:docMk/>
            <pc:sldMk cId="2987476754" sldId="257"/>
            <ac:grpSpMk id="108" creationId="{7E9C3E84-95AA-58FE-52E1-7555BEA29807}"/>
          </ac:grpSpMkLst>
        </pc:grpChg>
        <pc:grpChg chg="mod">
          <ac:chgData name="Andy Cai" userId="560e248f8e6bbfc4" providerId="LiveId" clId="{844A3182-6AF6-4B61-96B2-5299EFEE2796}" dt="2024-11-07T22:22:52.902" v="126"/>
          <ac:grpSpMkLst>
            <pc:docMk/>
            <pc:sldMk cId="2987476754" sldId="257"/>
            <ac:grpSpMk id="119" creationId="{818A9C6D-5F66-B07F-9C6D-41A4052C10AA}"/>
          </ac:grpSpMkLst>
        </pc:grpChg>
        <pc:grpChg chg="del mod">
          <ac:chgData name="Andy Cai" userId="560e248f8e6bbfc4" providerId="LiveId" clId="{844A3182-6AF6-4B61-96B2-5299EFEE2796}" dt="2024-11-07T22:23:08.340" v="143"/>
          <ac:grpSpMkLst>
            <pc:docMk/>
            <pc:sldMk cId="2987476754" sldId="257"/>
            <ac:grpSpMk id="124" creationId="{2AB6390B-C69C-E668-666C-512CB8DC0C93}"/>
          </ac:grpSpMkLst>
        </pc:grpChg>
        <pc:grpChg chg="mod">
          <ac:chgData name="Andy Cai" userId="560e248f8e6bbfc4" providerId="LiveId" clId="{844A3182-6AF6-4B61-96B2-5299EFEE2796}" dt="2024-11-07T22:23:08.340" v="143"/>
          <ac:grpSpMkLst>
            <pc:docMk/>
            <pc:sldMk cId="2987476754" sldId="257"/>
            <ac:grpSpMk id="130" creationId="{CDD5CD16-C5B3-0EF9-B542-606D4307BB79}"/>
          </ac:grpSpMkLst>
        </pc:grpChg>
        <pc:grpChg chg="mod">
          <ac:chgData name="Andy Cai" userId="560e248f8e6bbfc4" providerId="LiveId" clId="{844A3182-6AF6-4B61-96B2-5299EFEE2796}" dt="2024-11-07T22:23:08.340" v="143"/>
          <ac:grpSpMkLst>
            <pc:docMk/>
            <pc:sldMk cId="2987476754" sldId="257"/>
            <ac:grpSpMk id="131" creationId="{592CAD23-C770-DBE9-CF61-F6F5367C23D9}"/>
          </ac:grpSpMkLst>
        </pc:grpChg>
        <pc:grpChg chg="mod">
          <ac:chgData name="Andy Cai" userId="560e248f8e6bbfc4" providerId="LiveId" clId="{844A3182-6AF6-4B61-96B2-5299EFEE2796}" dt="2024-11-07T22:23:13.118" v="151"/>
          <ac:grpSpMkLst>
            <pc:docMk/>
            <pc:sldMk cId="2987476754" sldId="257"/>
            <ac:grpSpMk id="135" creationId="{5C8F52CF-BFAD-ECB5-A1E0-F933F177CF51}"/>
          </ac:grpSpMkLst>
        </pc:grp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" creationId="{EAD2D98C-FC84-52C5-4CCF-9CB718EF65C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5" creationId="{0CFB0E64-0856-6B3E-CF60-AFCCEE00C81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" creationId="{8043DD79-F349-67FB-538B-FFC4C79BCD58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7" creationId="{BEC4D083-E180-0FAA-7F69-3AE524731590}"/>
          </ac:inkMkLst>
        </pc:inkChg>
        <pc:inkChg chg="add del mod">
          <ac:chgData name="Andy Cai" userId="560e248f8e6bbfc4" providerId="LiveId" clId="{844A3182-6AF6-4B61-96B2-5299EFEE2796}" dt="2024-11-07T22:21:56.666" v="60"/>
          <ac:inkMkLst>
            <pc:docMk/>
            <pc:sldMk cId="2987476754" sldId="257"/>
            <ac:inkMk id="8" creationId="{001037B1-277D-264B-3295-707EACB591F7}"/>
          </ac:inkMkLst>
        </pc:inkChg>
        <pc:inkChg chg="add del mod">
          <ac:chgData name="Andy Cai" userId="560e248f8e6bbfc4" providerId="LiveId" clId="{844A3182-6AF6-4B61-96B2-5299EFEE2796}" dt="2024-11-07T22:21:57.151" v="61"/>
          <ac:inkMkLst>
            <pc:docMk/>
            <pc:sldMk cId="2987476754" sldId="257"/>
            <ac:inkMk id="9" creationId="{2B1B7B88-342E-7A36-78D6-D1234631F497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0" creationId="{74C7FAD3-929A-590A-F4E0-02CD47B8470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1" creationId="{C12DB50E-DA18-284A-F1E4-14C4573A54A0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" creationId="{C9C1D872-E997-EE39-61B8-76300C685680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3" creationId="{0E452B23-0E0B-8995-D668-5025CFBA911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4" creationId="{E0854EDA-2A17-0711-484A-449AFE7C8F02}"/>
          </ac:inkMkLst>
        </pc:inkChg>
        <pc:inkChg chg="add del mod">
          <ac:chgData name="Andy Cai" userId="560e248f8e6bbfc4" providerId="LiveId" clId="{844A3182-6AF6-4B61-96B2-5299EFEE2796}" dt="2024-11-07T22:21:58.668" v="64"/>
          <ac:inkMkLst>
            <pc:docMk/>
            <pc:sldMk cId="2987476754" sldId="257"/>
            <ac:inkMk id="15" creationId="{386F2C58-FCE4-9AB9-2988-1F8712915216}"/>
          </ac:inkMkLst>
        </pc:inkChg>
        <pc:inkChg chg="add del mod">
          <ac:chgData name="Andy Cai" userId="560e248f8e6bbfc4" providerId="LiveId" clId="{844A3182-6AF6-4B61-96B2-5299EFEE2796}" dt="2024-11-07T22:21:48.020" v="54"/>
          <ac:inkMkLst>
            <pc:docMk/>
            <pc:sldMk cId="2987476754" sldId="257"/>
            <ac:inkMk id="16" creationId="{FF980D2B-8E14-49C4-C66E-88E8712B8ED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7" creationId="{F2E1B5F9-3A37-1EDB-C3FE-99966706F40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8" creationId="{C32DA845-1C5A-CA31-9EDF-BB7F81CF4233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9" creationId="{51E69AEA-3263-428E-4857-3C3F946634DC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21" creationId="{AAAC3991-D87F-B98E-246B-063997037F75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22" creationId="{420784F4-CFD2-CF61-4C04-0F6AF7E119B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24" creationId="{988E0A06-41A7-70BD-3B70-262F5FC14A28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25" creationId="{AE8BEC32-D0A6-4F5C-9DA2-4CC8B0F26EB0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26" creationId="{F40A3ACB-E318-FB82-EB39-A5C5DE2C6A2E}"/>
          </ac:inkMkLst>
        </pc:inkChg>
        <pc:inkChg chg="add del mod">
          <ac:chgData name="Andy Cai" userId="560e248f8e6bbfc4" providerId="LiveId" clId="{844A3182-6AF6-4B61-96B2-5299EFEE2796}" dt="2024-11-07T22:21:32.830" v="36"/>
          <ac:inkMkLst>
            <pc:docMk/>
            <pc:sldMk cId="2987476754" sldId="257"/>
            <ac:inkMk id="27" creationId="{B44E38A1-B848-1FAD-BA3F-E7DBBF43DC38}"/>
          </ac:inkMkLst>
        </pc:inkChg>
        <pc:inkChg chg="add del">
          <ac:chgData name="Andy Cai" userId="560e248f8e6bbfc4" providerId="LiveId" clId="{844A3182-6AF6-4B61-96B2-5299EFEE2796}" dt="2024-11-07T22:21:29.136" v="28"/>
          <ac:inkMkLst>
            <pc:docMk/>
            <pc:sldMk cId="2987476754" sldId="257"/>
            <ac:inkMk id="29" creationId="{C657E09E-46EF-0B12-402B-99ED406369D5}"/>
          </ac:inkMkLst>
        </pc:inkChg>
        <pc:inkChg chg="add del">
          <ac:chgData name="Andy Cai" userId="560e248f8e6bbfc4" providerId="LiveId" clId="{844A3182-6AF6-4B61-96B2-5299EFEE2796}" dt="2024-11-07T22:21:29.945" v="29"/>
          <ac:inkMkLst>
            <pc:docMk/>
            <pc:sldMk cId="2987476754" sldId="257"/>
            <ac:inkMk id="30" creationId="{2ABADAB0-123F-399E-614C-F3DE2432B1D0}"/>
          </ac:inkMkLst>
        </pc:inkChg>
        <pc:inkChg chg="add del">
          <ac:chgData name="Andy Cai" userId="560e248f8e6bbfc4" providerId="LiveId" clId="{844A3182-6AF6-4B61-96B2-5299EFEE2796}" dt="2024-11-07T22:21:32.824" v="33"/>
          <ac:inkMkLst>
            <pc:docMk/>
            <pc:sldMk cId="2987476754" sldId="257"/>
            <ac:inkMk id="31" creationId="{A90FF489-A2EE-5620-A8A5-E6FEDBAB6D9A}"/>
          </ac:inkMkLst>
        </pc:inkChg>
        <pc:inkChg chg="add del">
          <ac:chgData name="Andy Cai" userId="560e248f8e6bbfc4" providerId="LiveId" clId="{844A3182-6AF6-4B61-96B2-5299EFEE2796}" dt="2024-11-07T22:21:32.829" v="35"/>
          <ac:inkMkLst>
            <pc:docMk/>
            <pc:sldMk cId="2987476754" sldId="257"/>
            <ac:inkMk id="32" creationId="{27BC4989-93D1-74AB-3251-1DD74223AF8F}"/>
          </ac:inkMkLst>
        </pc:inkChg>
        <pc:inkChg chg="add del">
          <ac:chgData name="Andy Cai" userId="560e248f8e6bbfc4" providerId="LiveId" clId="{844A3182-6AF6-4B61-96B2-5299EFEE2796}" dt="2024-11-07T22:21:32.826" v="34"/>
          <ac:inkMkLst>
            <pc:docMk/>
            <pc:sldMk cId="2987476754" sldId="257"/>
            <ac:inkMk id="33" creationId="{70DB6C8A-7EF6-9938-C0A2-2DB7207B8516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34" creationId="{87969345-84EE-121B-0771-6921C17EF09B}"/>
          </ac:inkMkLst>
        </pc:inkChg>
        <pc:inkChg chg="add del mod">
          <ac:chgData name="Andy Cai" userId="560e248f8e6bbfc4" providerId="LiveId" clId="{844A3182-6AF6-4B61-96B2-5299EFEE2796}" dt="2024-11-07T22:23:00.310" v="128"/>
          <ac:inkMkLst>
            <pc:docMk/>
            <pc:sldMk cId="2987476754" sldId="257"/>
            <ac:inkMk id="35" creationId="{ECCE67A3-B7AC-5B63-AFB0-9C537C019C0A}"/>
          </ac:inkMkLst>
        </pc:inkChg>
        <pc:inkChg chg="add del mod">
          <ac:chgData name="Andy Cai" userId="560e248f8e6bbfc4" providerId="LiveId" clId="{844A3182-6AF6-4B61-96B2-5299EFEE2796}" dt="2024-11-07T22:23:00.305" v="127"/>
          <ac:inkMkLst>
            <pc:docMk/>
            <pc:sldMk cId="2987476754" sldId="257"/>
            <ac:inkMk id="36" creationId="{D2A492BC-8134-16F3-F813-C8453F2E02BE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37" creationId="{501A9CA9-A736-8C66-2274-CAB9F3C61388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38" creationId="{A9123779-227F-081B-63A3-D701D70D0F55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39" creationId="{F9F4B104-9212-4FF9-71AD-4E02737E1FDE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0" creationId="{A843EBEB-AB26-4578-5AF4-26FC60DBEB0F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1" creationId="{9949B114-0972-E088-195E-204C59574A21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2" creationId="{19126109-5D51-39AD-378C-AA5ADFC1A4DE}"/>
          </ac:inkMkLst>
        </pc:inkChg>
        <pc:inkChg chg="add del mod">
          <ac:chgData name="Andy Cai" userId="560e248f8e6bbfc4" providerId="LiveId" clId="{844A3182-6AF6-4B61-96B2-5299EFEE2796}" dt="2024-11-07T22:23:03.102" v="134"/>
          <ac:inkMkLst>
            <pc:docMk/>
            <pc:sldMk cId="2987476754" sldId="257"/>
            <ac:inkMk id="43" creationId="{29385883-0249-6111-62B7-B774B9AEA52B}"/>
          </ac:inkMkLst>
        </pc:inkChg>
        <pc:inkChg chg="add del mod">
          <ac:chgData name="Andy Cai" userId="560e248f8e6bbfc4" providerId="LiveId" clId="{844A3182-6AF6-4B61-96B2-5299EFEE2796}" dt="2024-11-07T22:23:02.726" v="133"/>
          <ac:inkMkLst>
            <pc:docMk/>
            <pc:sldMk cId="2987476754" sldId="257"/>
            <ac:inkMk id="44" creationId="{769D44E9-EBE8-67FD-A65C-30A58D5834ED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5" creationId="{0975F728-3FC5-1429-BE29-452469A190ED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6" creationId="{31FE078F-88FB-D5C6-7E7E-B772F03BF06B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48" creationId="{7A581DF9-B124-7769-D13D-C80C265AD3E0}"/>
          </ac:inkMkLst>
        </pc:inkChg>
        <pc:inkChg chg="add del">
          <ac:chgData name="Andy Cai" userId="560e248f8e6bbfc4" providerId="LiveId" clId="{844A3182-6AF6-4B61-96B2-5299EFEE2796}" dt="2024-11-07T22:21:47.072" v="53"/>
          <ac:inkMkLst>
            <pc:docMk/>
            <pc:sldMk cId="2987476754" sldId="257"/>
            <ac:inkMk id="49" creationId="{9140AC8A-900C-97A0-CADA-995306E30819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50" creationId="{9FCAE6F9-3121-9956-73AA-74AB278CFE1F}"/>
          </ac:inkMkLst>
        </pc:inkChg>
        <pc:inkChg chg="add mod">
          <ac:chgData name="Andy Cai" userId="560e248f8e6bbfc4" providerId="LiveId" clId="{844A3182-6AF6-4B61-96B2-5299EFEE2796}" dt="2024-11-07T22:21:50.464" v="58"/>
          <ac:inkMkLst>
            <pc:docMk/>
            <pc:sldMk cId="2987476754" sldId="257"/>
            <ac:inkMk id="51" creationId="{0E1B4489-1E21-3D16-416B-F90F7CCF2623}"/>
          </ac:inkMkLst>
        </pc:inkChg>
        <pc:inkChg chg="add mod">
          <ac:chgData name="Andy Cai" userId="560e248f8e6bbfc4" providerId="LiveId" clId="{844A3182-6AF6-4B61-96B2-5299EFEE2796}" dt="2024-11-07T22:21:50.464" v="58"/>
          <ac:inkMkLst>
            <pc:docMk/>
            <pc:sldMk cId="2987476754" sldId="257"/>
            <ac:inkMk id="52" creationId="{83E35E79-4E88-0473-E8AA-C253EF5B6949}"/>
          </ac:inkMkLst>
        </pc:inkChg>
        <pc:inkChg chg="add">
          <ac:chgData name="Andy Cai" userId="560e248f8e6bbfc4" providerId="LiveId" clId="{844A3182-6AF6-4B61-96B2-5299EFEE2796}" dt="2024-11-07T22:21:51.774" v="59" actId="9405"/>
          <ac:inkMkLst>
            <pc:docMk/>
            <pc:sldMk cId="2987476754" sldId="257"/>
            <ac:inkMk id="55" creationId="{09032088-F165-EE43-3D67-6383CB0934F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56" creationId="{43D345C1-B714-DB4B-4DF0-B6ACE354B538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57" creationId="{C30E3CDE-A955-9753-44E3-10101E1990BE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59" creationId="{703333F0-2615-1B06-DD55-9E78E95E88CF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0" creationId="{883730EE-EAA6-E76D-CC76-A572CA819F52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1" creationId="{0F55B53E-126B-BF42-EF82-4168632E05FC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2" creationId="{55983117-A742-9582-377A-D0E4340E1147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3" creationId="{06463A6A-7D42-CA03-EE2D-37C7638FBDC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4" creationId="{F183A206-1C59-98B3-ECC5-6E67562C0EF2}"/>
          </ac:inkMkLst>
        </pc:inkChg>
        <pc:inkChg chg="add del mod">
          <ac:chgData name="Andy Cai" userId="560e248f8e6bbfc4" providerId="LiveId" clId="{844A3182-6AF6-4B61-96B2-5299EFEE2796}" dt="2024-11-07T22:22:17.051" v="81"/>
          <ac:inkMkLst>
            <pc:docMk/>
            <pc:sldMk cId="2987476754" sldId="257"/>
            <ac:inkMk id="66" creationId="{32143549-8210-A895-3656-D54EF1D0B0D8}"/>
          </ac:inkMkLst>
        </pc:inkChg>
        <pc:inkChg chg="add del">
          <ac:chgData name="Andy Cai" userId="560e248f8e6bbfc4" providerId="LiveId" clId="{844A3182-6AF6-4B61-96B2-5299EFEE2796}" dt="2024-11-07T22:22:09.131" v="75"/>
          <ac:inkMkLst>
            <pc:docMk/>
            <pc:sldMk cId="2987476754" sldId="257"/>
            <ac:inkMk id="67" creationId="{C9227154-853F-332B-4CE1-EA34CFC2DC88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69" creationId="{1D0383C3-91F6-F5C3-C4AA-B7926EF554D9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70" creationId="{875D7534-A755-29ED-1145-5557C3AB2D3E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71" creationId="{864B2C74-AE28-D820-AAAB-8739BDEE3AF9}"/>
          </ac:inkMkLst>
        </pc:inkChg>
        <pc:inkChg chg="add del mod">
          <ac:chgData name="Andy Cai" userId="560e248f8e6bbfc4" providerId="LiveId" clId="{844A3182-6AF6-4B61-96B2-5299EFEE2796}" dt="2024-11-07T22:23:06.084" v="140"/>
          <ac:inkMkLst>
            <pc:docMk/>
            <pc:sldMk cId="2987476754" sldId="257"/>
            <ac:inkMk id="73" creationId="{AB0284DB-980D-890C-157A-087AD866D5D4}"/>
          </ac:inkMkLst>
        </pc:inkChg>
        <pc:inkChg chg="add del mod">
          <ac:chgData name="Andy Cai" userId="560e248f8e6bbfc4" providerId="LiveId" clId="{844A3182-6AF6-4B61-96B2-5299EFEE2796}" dt="2024-11-07T22:23:06.849" v="141"/>
          <ac:inkMkLst>
            <pc:docMk/>
            <pc:sldMk cId="2987476754" sldId="257"/>
            <ac:inkMk id="74" creationId="{20CC800B-DB0C-3519-132E-C8F5651F03F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76" creationId="{1D21242F-042F-480C-C971-08B23A81A46F}"/>
          </ac:inkMkLst>
        </pc:inkChg>
        <pc:inkChg chg="add mod">
          <ac:chgData name="Andy Cai" userId="560e248f8e6bbfc4" providerId="LiveId" clId="{844A3182-6AF6-4B61-96B2-5299EFEE2796}" dt="2024-11-07T22:22:27.432" v="89"/>
          <ac:inkMkLst>
            <pc:docMk/>
            <pc:sldMk cId="2987476754" sldId="257"/>
            <ac:inkMk id="78" creationId="{993FBBA1-4131-42C3-C043-E9932A7E622B}"/>
          </ac:inkMkLst>
        </pc:inkChg>
        <pc:inkChg chg="add mod">
          <ac:chgData name="Andy Cai" userId="560e248f8e6bbfc4" providerId="LiveId" clId="{844A3182-6AF6-4B61-96B2-5299EFEE2796}" dt="2024-11-07T22:22:27.432" v="89"/>
          <ac:inkMkLst>
            <pc:docMk/>
            <pc:sldMk cId="2987476754" sldId="257"/>
            <ac:inkMk id="79" creationId="{324D9354-7FC4-3AC0-A934-491CA677365F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81" creationId="{B33931D8-FF12-9DD8-705C-BF4E5C1D6969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82" creationId="{B1780C76-AAE8-7173-24C4-AD7A69681373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83" creationId="{B8DEF441-E554-B312-A4C2-E63D775B5342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84" creationId="{EAFBB09E-F7B2-5E88-C4E3-3891AAD11D93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85" creationId="{8E3665BA-7141-F4D1-F104-BD16953CDB3C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86" creationId="{76B9CE21-C27F-F922-BC6B-7C121B57984A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87" creationId="{52348F14-1218-F75C-5A2D-A3A10B871988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88" creationId="{587C2AF8-0B2F-B3CE-C4CE-00A4443709B1}"/>
          </ac:inkMkLst>
        </pc:inkChg>
        <pc:inkChg chg="add del mod">
          <ac:chgData name="Andy Cai" userId="560e248f8e6bbfc4" providerId="LiveId" clId="{844A3182-6AF6-4B61-96B2-5299EFEE2796}" dt="2024-11-07T22:23:10.708" v="144"/>
          <ac:inkMkLst>
            <pc:docMk/>
            <pc:sldMk cId="2987476754" sldId="257"/>
            <ac:inkMk id="89" creationId="{B3145B02-5848-45CD-1641-881D369B978D}"/>
          </ac:inkMkLst>
        </pc:inkChg>
        <pc:inkChg chg="add del mod">
          <ac:chgData name="Andy Cai" userId="560e248f8e6bbfc4" providerId="LiveId" clId="{844A3182-6AF6-4B61-96B2-5299EFEE2796}" dt="2024-11-07T22:23:10.713" v="147"/>
          <ac:inkMkLst>
            <pc:docMk/>
            <pc:sldMk cId="2987476754" sldId="257"/>
            <ac:inkMk id="90" creationId="{F8E41FEF-C3C5-5FE2-1857-4EC43E4B455A}"/>
          </ac:inkMkLst>
        </pc:inkChg>
        <pc:inkChg chg="add del mod">
          <ac:chgData name="Andy Cai" userId="560e248f8e6bbfc4" providerId="LiveId" clId="{844A3182-6AF6-4B61-96B2-5299EFEE2796}" dt="2024-11-07T22:23:10.710" v="145"/>
          <ac:inkMkLst>
            <pc:docMk/>
            <pc:sldMk cId="2987476754" sldId="257"/>
            <ac:inkMk id="91" creationId="{EE70FF67-4D92-E528-AFAD-4C9B647F7B25}"/>
          </ac:inkMkLst>
        </pc:inkChg>
        <pc:inkChg chg="add del mod">
          <ac:chgData name="Andy Cai" userId="560e248f8e6bbfc4" providerId="LiveId" clId="{844A3182-6AF6-4B61-96B2-5299EFEE2796}" dt="2024-11-07T22:23:10.712" v="146"/>
          <ac:inkMkLst>
            <pc:docMk/>
            <pc:sldMk cId="2987476754" sldId="257"/>
            <ac:inkMk id="92" creationId="{E42526D5-D8F8-9786-5516-75265088E679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93" creationId="{9240E31E-AF31-DA06-57A6-BD88F58D17FA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94" creationId="{FA52457D-E662-A3BF-2AD2-FBC7125E1708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95" creationId="{80EB6B4C-9E85-FA10-3CF1-31416F6B96DD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96" creationId="{C2FB5155-C5AF-E998-BFA8-CC18EADB311E}"/>
          </ac:inkMkLst>
        </pc:inkChg>
        <pc:inkChg chg="add mod">
          <ac:chgData name="Andy Cai" userId="560e248f8e6bbfc4" providerId="LiveId" clId="{844A3182-6AF6-4B61-96B2-5299EFEE2796}" dt="2024-11-07T22:22:40.054" v="111"/>
          <ac:inkMkLst>
            <pc:docMk/>
            <pc:sldMk cId="2987476754" sldId="257"/>
            <ac:inkMk id="97" creationId="{72580A32-A1C7-83B4-E440-560528F46B27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98" creationId="{DF7668DC-546D-8DD0-A196-3218FA48D2CE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99" creationId="{A34DBAB2-1CCB-B9BA-639A-FAD5A76BE71C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00" creationId="{293F4FBB-417F-1B2C-B186-0F0D6565EEDB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01" creationId="{0E37E8D0-5872-9F8F-8B13-B0008F25A200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06" creationId="{DD26B155-D798-6527-033B-C0F189633E1C}"/>
          </ac:inkMkLst>
        </pc:inkChg>
        <pc:inkChg chg="add del mod">
          <ac:chgData name="Andy Cai" userId="560e248f8e6bbfc4" providerId="LiveId" clId="{844A3182-6AF6-4B61-96B2-5299EFEE2796}" dt="2024-11-07T22:22:47.843" v="115"/>
          <ac:inkMkLst>
            <pc:docMk/>
            <pc:sldMk cId="2987476754" sldId="257"/>
            <ac:inkMk id="107" creationId="{406D2C2F-E2D8-01F9-6262-409240B0B9DB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09" creationId="{66A7E189-7F4C-6917-5AC0-9C713418C958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0" creationId="{27BA0F68-E1D4-0342-745B-5C393C97B129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1" creationId="{4B0445D8-4CFB-6B8A-52D9-DE3F33C99DDB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2" creationId="{B1A16508-F3AE-6995-55EB-DF3EB1E1AF2F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3" creationId="{147F8953-5CA1-BEAA-E996-981F34CF8221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4" creationId="{9F33C9C7-C56E-51EB-995D-0E6E937E07CA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5" creationId="{A40B3315-C1E3-E4DF-8A19-F53BD20E0C70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6" creationId="{00DEF256-D446-E837-FD90-F4F77376E52C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7" creationId="{046D6F3C-15AC-8E96-EDF2-3E6C49EED600}"/>
          </ac:inkMkLst>
        </pc:inkChg>
        <pc:inkChg chg="add mod">
          <ac:chgData name="Andy Cai" userId="560e248f8e6bbfc4" providerId="LiveId" clId="{844A3182-6AF6-4B61-96B2-5299EFEE2796}" dt="2024-11-07T22:22:52.902" v="126"/>
          <ac:inkMkLst>
            <pc:docMk/>
            <pc:sldMk cId="2987476754" sldId="257"/>
            <ac:inkMk id="118" creationId="{F959A14B-D323-29D6-BE16-AD5FCE050CF7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0" creationId="{41EB815C-DBBA-23B9-1D0D-154D15222DC7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1" creationId="{F7E38CFB-5514-0383-63F6-94636391B80A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2" creationId="{4EFF5007-F7F9-EAC3-2D85-AB41FF275066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3" creationId="{E496131B-0840-09AB-3372-9B48CCC30730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5" creationId="{434DC551-5D09-215F-A72D-11EBFB1BD5F4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6" creationId="{C4F272DC-5797-7A98-B127-6755FBF65925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7" creationId="{802B5F5F-D92E-E9ED-6D92-F4FCF0F6306C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8" creationId="{AB449AC1-6CCA-B7B5-27C5-81094943D8DB}"/>
          </ac:inkMkLst>
        </pc:inkChg>
        <pc:inkChg chg="add mod">
          <ac:chgData name="Andy Cai" userId="560e248f8e6bbfc4" providerId="LiveId" clId="{844A3182-6AF6-4B61-96B2-5299EFEE2796}" dt="2024-11-07T22:23:08.340" v="143"/>
          <ac:inkMkLst>
            <pc:docMk/>
            <pc:sldMk cId="2987476754" sldId="257"/>
            <ac:inkMk id="129" creationId="{F60D3747-C3A4-3226-EF87-A9D90D1AA8BD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132" creationId="{409A5317-1E85-2646-7CAE-974235F1055D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133" creationId="{832EB50A-E4A1-7502-3FD4-4C2BE92E4C40}"/>
          </ac:inkMkLst>
        </pc:inkChg>
        <pc:inkChg chg="add mod">
          <ac:chgData name="Andy Cai" userId="560e248f8e6bbfc4" providerId="LiveId" clId="{844A3182-6AF6-4B61-96B2-5299EFEE2796}" dt="2024-11-07T22:23:13.118" v="151"/>
          <ac:inkMkLst>
            <pc:docMk/>
            <pc:sldMk cId="2987476754" sldId="257"/>
            <ac:inkMk id="134" creationId="{ECBF88D6-3D1A-205A-8D35-033D01056582}"/>
          </ac:inkMkLst>
        </pc:ink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49.25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7 9271 0 0,'2'-1'824'0'0,"0"0"-664"0"0,1 1-160 0 0,1-1 0 0 0,0 0 224 0 0,1 0 16 0 0,-1 1 0 0 0,1 0 0 0 0,1-1-240 0 0,-1 0 0 0 0,0 2 0 0 0,0-1 0 0 0,0 0-2208 0 0,-1 0-384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1.24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14335 0 0,'41'4'80'0'0,"-32"-4"-1999"0"0,-6 0 744 0 0,-1 0 1 0 0,0 0 0 0 0,0 0 0 0 0,1-1-1 0 0,-1 1 1 0 0,0 0 0 0 0,1-1-1 0 0,-1 0 1 0 0,3-1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7.31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7 11287 0 0,'4'-5'280'0'0,"-4"4"25"0"0,1 0 1 0 0,-1 0-1 0 0,1 0 0 0 0,-1 0 0 0 0,1 0 0 0 0,0 0 0 0 0,-1 1 0 0 0,1-1 1 0 0,0 0-1 0 0,-1 0 0 0 0,3-1 0 0 0,-2 3-212 0 0,-1-1 0 0 0,1 0 1 0 0,-1 1-1 0 0,1-1 0 0 0,-1 0 1 0 0,1 1-1 0 0,-1-1 0 0 0,1 0 0 0 0,-1 1 1 0 0,0-1-1 0 0,1 1 0 0 0,-1-1 0 0 0,1 1 1 0 0,-1-1-1 0 0,0 1 0 0 0,1-1 0 0 0,-1 1 1 0 0,0-1-1 0 0,0 1 0 0 0,0-1 1 0 0,1 1-1 0 0,-1 0 0 0 0,0-1 0 0 0,0 1 1 0 0,0 0-1 0 0,12 37 230 0 0,-2 1 0 0 0,8 67 0 0 0,-13-76-328 0 0,-2-10-16 0 0,0 0 0 0 0,-2-1 0 0 0,0 30 0 0 0,-1-49 9 0 0,0 0 0 0 0,0 0 1 0 0,0 0-1 0 0,0 0 0 0 0,0 0 1 0 0,0 0-1 0 0,0 0 0 0 0,0 1 1 0 0,0-1-1 0 0,0 0 0 0 0,0 0 0 0 0,0 0 1 0 0,0 0-1 0 0,0 0 0 0 0,0 0 1 0 0,0 0-1 0 0,0 0 0 0 0,0 0 1 0 0,0 0-1 0 0,0 0 0 0 0,0 0 0 0 0,0 0 1 0 0,0 1-1 0 0,0-1 0 0 0,0 0 1 0 0,0 0-1 0 0,0 0 0 0 0,0 0 1 0 0,0 0-1 0 0,0 0 0 0 0,0 0 0 0 0,0 0 1 0 0,0 0-1 0 0,0 0 0 0 0,0 0 1 0 0,0 0-1 0 0,-1 0 0 0 0,1 0 1 0 0,0 0-1 0 0,0 0 0 0 0,0 0 0 0 0,0 0 1 0 0,0 0-1 0 0,0 1 0 0 0,0-1 1 0 0,0 0-1 0 0,0 0 0 0 0,0 0 1 0 0,0 0-1 0 0,0 0 0 0 0,0 0 0 0 0,-1 0 1 0 0,1 0-1 0 0,0 0 0 0 0,0 0 1 0 0,0 0-1 0 0,0 0 0 0 0,0 0 1 0 0,0-1-1 0 0,0 1 0 0 0,0 0 0 0 0,0 0 1 0 0,0 0-1 0 0,0 0 0 0 0,-4-6-425 0 0,-2-10-36 0 0,6 9 467 0 0,0 1 0 0 0,0-1-1 0 0,0 1 1 0 0,1-1 0 0 0,0 1 0 0 0,0 0-1 0 0,4-10 1 0 0,-5 14 7 0 0,1-1-1 0 0,0 1 1 0 0,0-1-1 0 0,1 1 1 0 0,-1 0-1 0 0,0-1 0 0 0,1 1 1 0 0,-1 0-1 0 0,1 0 1 0 0,0 0-1 0 0,0 0 1 0 0,-1 0-1 0 0,1 1 1 0 0,1-1-1 0 0,-1 1 1 0 0,0-1-1 0 0,0 1 0 0 0,0 0 1 0 0,1-1-1 0 0,-1 1 1 0 0,4-1-1 0 0,-4 2 28 0 0,0 0-1 0 0,0 0 1 0 0,0 0-1 0 0,0 0 0 0 0,0 0 1 0 0,0 0-1 0 0,0 0 1 0 0,0 1-1 0 0,0-1 1 0 0,-1 1-1 0 0,1-1 1 0 0,0 1-1 0 0,0 0 1 0 0,0 0-1 0 0,-1-1 0 0 0,1 1 1 0 0,0 1-1 0 0,-1-1 1 0 0,1 0-1 0 0,-1 0 1 0 0,1 0-1 0 0,-1 1 1 0 0,0-1-1 0 0,0 1 0 0 0,1-1 1 0 0,-1 1-1 0 0,0 0 1 0 0,1 2-1 0 0,1 3 114 0 0,1-1 0 0 0,-1 1-1 0 0,0 1 1 0 0,-1-1 0 0 0,3 14-1 0 0,1 3-145 0 0,-6-23-84 0 0,3-2 75 0 0,0 1 0 0 0,0-1 0 0 0,0 0 0 0 0,0 0 1 0 0,-1 0-1 0 0,1 0 0 0 0,0 0 0 0 0,-1-1 0 0 0,1 1 1 0 0,-1-1-1 0 0,5-3 0 0 0,-3 2-7 0 0,0-1 1 0 0,1 0-1 0 0,-2 0 0 0 0,1 0 1 0 0,4-7-1 0 0,-5 7 38 0 0,-1-1 0 0 0,0 0 0 0 0,0 0 0 0 0,0 0 0 0 0,-1 0 0 0 0,0 0 1 0 0,1-7-1 0 0,-2 9-5 0 0,1-1 0 0 0,-1 1 1 0 0,0 0-1 0 0,0 0 1 0 0,0 0-1 0 0,0 0 1 0 0,-1 0-1 0 0,1 0 1 0 0,-1 0-1 0 0,0 0 1 0 0,0 0-1 0 0,0 0 0 0 0,-2-5 1 0 0,2 8 17 0 0,1-1 0 0 0,-1 1 0 0 0,1-1 0 0 0,0 0 1 0 0,-1 1-1 0 0,1-1 0 0 0,-1 1 0 0 0,1-1 0 0 0,-1 1 0 0 0,0 0 1 0 0,1-1-1 0 0,-1 1 0 0 0,1 0 0 0 0,-1-1 0 0 0,0 1 0 0 0,1 0 0 0 0,-1 0 1 0 0,0-1-1 0 0,1 1 0 0 0,-1 0 0 0 0,0 0 0 0 0,1 0 0 0 0,-1 0 1 0 0,0 0-1 0 0,-1 0 0 0 0,1 1 18 0 0,-1-1 1 0 0,1 1 0 0 0,-1-1-1 0 0,1 1 1 0 0,0 0 0 0 0,-1-1-1 0 0,1 1 1 0 0,0 0 0 0 0,0 0-1 0 0,-1 0 1 0 0,0 2-1 0 0,-2 1 42 0 0,1 0 0 0 0,0 0-1 0 0,0 0 1 0 0,0 1 0 0 0,-5 9-1 0 0,7-10-110 0 0,0 1-1 0 0,0 0 1 0 0,0 0-1 0 0,1-1 1 0 0,0 1-1 0 0,0 0 1 0 0,0 0-1 0 0,0 0 1 0 0,1-1-1 0 0,-1 1 1 0 0,1 0-1 0 0,1-1 1 0 0,-1 1-1 0 0,1 0 1 0 0,-1-1-1 0 0,4 5 1 0 0,-4-7-71 0 0,0 1 1 0 0,0-1 0 0 0,0 0 0 0 0,1 1 0 0 0,-1-1 0 0 0,1 0-1 0 0,-1 0 1 0 0,1 0 0 0 0,0 0 0 0 0,0 0 0 0 0,0-1 0 0 0,0 1-1 0 0,0-1 1 0 0,0 1 0 0 0,1-1 0 0 0,-1 0 0 0 0,0 0 0 0 0,1 1-1 0 0,-1-2 1 0 0,1 1 0 0 0,-1 0 0 0 0,1 0 0 0 0,-1-1-1 0 0,1 0 1 0 0,-1 1 0 0 0,1-1 0 0 0,0 0 0 0 0,-1 0 0 0 0,1-1-1 0 0,4 0 1 0 0,-4 0-434 0 0,1 0 0 0 0,-1-1-1 0 0,0 0 1 0 0,0 0 0 0 0,0 1 0 0 0,0-2-1 0 0,0 1 1 0 0,-1 0 0 0 0,1-1 0 0 0,0 1-1 0 0,-1-1 1 0 0,0 0 0 0 0,0 0-1 0 0,0 0 1 0 0,0 0 0 0 0,3-6 0 0 0,7-11-922 0 0,4 4 4366 0 0,-15 16-2734 0 0,-1-1-1 0 0,0 1 1 0 0,0 0-1 0 0,1 0 1 0 0,-1 0 0 0 0,0-1-1 0 0,1 1 1 0 0,-1 0-1 0 0,0 0 1 0 0,1 0-1 0 0,-1 0 1 0 0,0 0 0 0 0,1 0-1 0 0,-1 0 1 0 0,0 0-1 0 0,1 0 1 0 0,-1 0 0 0 0,0 0-1 0 0,1 0 1 0 0,-1 0-1 0 0,0 0 1 0 0,1 0 0 0 0,-1 0-1 0 0,0 0 1 0 0,1 0-1 0 0,-1 1 1 0 0,0-1 0 0 0,1 0-1 0 0,-1 0 1 0 0,0 0-1 0 0,1 1 1 0 0,8 11 1914 0 0,0 16-1416 0 0,-5-12-603 0 0,-15-34-736 0 0,10 12 668 0 0,0 0 0 0 0,0 0 0 0 0,0 0 0 0 0,1-1 0 0 0,0 1 0 0 0,0 0 0 0 0,1-1 0 0 0,-1 1 0 0 0,3-7 0 0 0,-3 11-18 0 0,1 0 0 0 0,0 0 0 0 0,-1 0 0 0 0,1 0 0 0 0,0 0 0 0 0,0 0 0 0 0,0 0 0 0 0,0 0-1 0 0,1 0 1 0 0,-1 1 0 0 0,0-1 0 0 0,1 1 0 0 0,-1-1 0 0 0,1 1 0 0 0,0-1 0 0 0,-1 1-1 0 0,1 0 1 0 0,0 0 0 0 0,0 0 0 0 0,0 0 0 0 0,0 0 0 0 0,0 0 0 0 0,0 1 0 0 0,0-1 0 0 0,0 1-1 0 0,0-1 1 0 0,0 1 0 0 0,0 0 0 0 0,0-1 0 0 0,3 1 0 0 0,16 6 1 0 0,-21-7 47 0 0,1 1 1 0 0,-1-1-1 0 0,0 1 1 0 0,0 0-1 0 0,1-1 1 0 0,-1 1-1 0 0,0-1 1 0 0,0 1-1 0 0,0-1 1 0 0,0 1-1 0 0,1-1 1 0 0,-1 1 0 0 0,0-1-1 0 0,0 1 1 0 0,0-1-1 0 0,0 1 1 0 0,0-1-1 0 0,0 0 1 0 0,0 1-36 0 0,0 0 0 0 0,0 0 0 0 0,0-1 0 0 0,0 1 0 0 0,0 0 0 0 0,0 0 0 0 0,0 0 0 0 0,0-1 0 0 0,0 1 1 0 0,0 0-1 0 0,0 0 0 0 0,0 0 0 0 0,0 0 0 0 0,0-1 0 0 0,0 1 0 0 0,-1 0 0 0 0,1 0 0 0 0,0 0 0 0 0,0 0 0 0 0,0 0 0 0 0,0-1 1 0 0,0 1-1 0 0,0 0 0 0 0,0 0 0 0 0,0 0 0 0 0,-1 0 0 0 0,1 0 0 0 0,0 0 0 0 0,0-1 0 0 0,0 1 0 0 0,0 0 0 0 0,0 0 0 0 0,-1 0 1 0 0,1 0-1 0 0,0 0 0 0 0,0 0 0 0 0,0 0 0 0 0,0 0 0 0 0,-1 0 0 0 0,1 0 0 0 0,0 0 0 0 0,0 0 0 0 0,0 0 0 0 0,0 0 0 0 0,-1 0 0 0 0,1 0 1 0 0,0 0-1 0 0,0 0 0 0 0,0 0 0 0 0,0 0 0 0 0,-1 0 0 0 0,1 0 0 0 0,0 0 0 0 0,0 0 0 0 0,0 0 0 0 0,0 0 0 0 0,-1 0 0 0 0,1 1 1 0 0,0-1-1 0 0,0 0 0 0 0,0 0 0 0 0,0 0 0 0 0,0 0 0 0 0,0 0 0 0 0,-1 0 0 0 0,1 1 0 0 0,-1 1 22 0 0,0-1 0 0 0,-1 1 0 0 0,1 0 0 0 0,0 0 1 0 0,0 0-1 0 0,0 0 0 0 0,0 0 0 0 0,0 0 0 0 0,1 0 0 0 0,-1 1 0 0 0,1-1 0 0 0,-1 0 0 0 0,1 0 0 0 0,0 1 0 0 0,0 2 0 0 0,0 3-17 0 0,0 0 0 0 0,1-1 0 0 0,1 11 1 0 0,-1-15-125 0 0,-1 0 1 0 0,1 0-1 0 0,0 0 1 0 0,0 0-1 0 0,0-1 1 0 0,1 1-1 0 0,-1 0 1 0 0,1 0-1 0 0,-1-1 1 0 0,1 1-1 0 0,0-1 1 0 0,0 1-1 0 0,0-1 1 0 0,0 0-1 0 0,1 0 1 0 0,-1 0-1 0 0,1 0 1 0 0,-1 0 0 0 0,1 0-1 0 0,5 2 1 0 0,-5-3-576 0 0,0 0 0 0 0,0 0 0 0 0,0 0 0 0 0,0-1 1 0 0,0 1-1 0 0,0-1 0 0 0,0 0 0 0 0,6 0 0 0 0,-5 0-784 0 0,0-1-1 0 0,0 0 1 0 0,1 0 0 0 0,-1 0-1 0 0,0 0 1 0 0,7-4-1 0 0,-6 3 1229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7.73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0 0 13791 0 0,'0'0'1431'0'0,"1"2"-1320"0"0,-1 1-36 0 0,1 0 1 0 0,-1 0 0 0 0,1 0 0 0 0,-1 1 0 0 0,0-1-1 0 0,0 0 1 0 0,0 0 0 0 0,-1 1 0 0 0,1-1 0 0 0,-1 0 0 0 0,0 0-1 0 0,0 0 1 0 0,0 0 0 0 0,-3 5 0 0 0,-6 7-4531 0 0,-4-2-5111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8.20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3 10 6415 0 0,'0'5'8022'0'0,"0"8"-5021"0"0,-3-4-2774 0 0,0 0 1 0 0,0-1-1 0 0,-1 1 1 0 0,-1-1-1 0 0,1 0 1 0 0,-12 15-1 0 0,-2 3-226 0 0,1 3-1 0 0,17-29-2 0 0,0 0 0 0 0,0 0 0 0 0,0 0-1 0 0,0 0 1 0 0,0 1 0 0 0,0-1 0 0 0,0 0 0 0 0,0 0-1 0 0,0 0 1 0 0,0 0 0 0 0,0 0 0 0 0,0 1-1 0 0,0-1 1 0 0,0 0 0 0 0,1 0 0 0 0,-1 0 0 0 0,0 0-1 0 0,0 0 1 0 0,0 1 0 0 0,0-1 0 0 0,0 0 0 0 0,0 0-1 0 0,0 0 1 0 0,0 0 0 0 0,0 0 0 0 0,0 0-1 0 0,1 0 1 0 0,-1 0 0 0 0,0 1 0 0 0,0-1 0 0 0,0 0-1 0 0,0 0 1 0 0,0 0 0 0 0,0 0 0 0 0,1 0 0 0 0,-1 0-1 0 0,0 0 1 0 0,0 0 0 0 0,0 0 0 0 0,0 0-1 0 0,0 0 1 0 0,1 0 0 0 0,-1 0 0 0 0,0 0 0 0 0,0 0-1 0 0,0 0 1 0 0,0 0 0 0 0,0 0 0 0 0,1 0 0 0 0,-1 0-1 0 0,0 0 1 0 0,0 0 0 0 0,0 0 0 0 0,0 0 0 0 0,0 0-1 0 0,0 0 1 0 0,1-1 0 0 0,-1 1 0 0 0,0 0-1 0 0,0 0 1 0 0,9-2-197 0 0,108-27 624 0 0,-80 21-308 0 0,-24 6 65 0 0,-13 2-182 0 0,0-1 0 0 0,0 1-1 0 0,0-1 1 0 0,-1 0 0 0 0,1 1 0 0 0,0-1 0 0 0,0 1 0 0 0,0-1 0 0 0,-1 0 0 0 0,1 1 0 0 0,0-1 0 0 0,0 1 0 0 0,-1-1 0 0 0,1 1 0 0 0,-1-1 0 0 0,1 1 0 0 0,0-1 0 0 0,-1 1 0 0 0,1 0 0 0 0,-1-1 0 0 0,0 0 0 0 0,1 1-9 0 0,-101-100-709 0 0,94 94 85 0 0,22 21-8301 0 0,22 8 757 0 0,-29-20 7683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8.66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5 9615 0 0,'0'0'1143'0'0,"13"11"3669"0"0,-4 6-4561 0 0,-1-4 57 0 0,-1 0-1 0 0,8 22 0 0 0,-20-41-361 0 0,2 1 24 0 0,-1 0 0 0 0,1 0 1 0 0,0 0-1 0 0,-5-10 1 0 0,7 11 135 0 0,0 0 1 0 0,0 0-1 0 0,1 0 1 0 0,-1 0-1 0 0,1 1 1 0 0,-1-1-1 0 0,2-6 1 0 0,-1 8-106 0 0,0 1-1 0 0,0 0 1 0 0,1 0 0 0 0,-1 0 0 0 0,1 0 0 0 0,-1 0-1 0 0,1 0 1 0 0,0 0 0 0 0,-1 0 0 0 0,1 0 0 0 0,0 0-1 0 0,-1 0 1 0 0,1 0 0 0 0,0 0 0 0 0,0 0-1 0 0,0 1 1 0 0,0-1 0 0 0,0 0 0 0 0,0 1 0 0 0,0-1-1 0 0,0 1 1 0 0,0-1 0 0 0,0 1 0 0 0,0-1 0 0 0,1 1-1 0 0,-1 0 1 0 0,0 0 0 0 0,0-1 0 0 0,2 1 0 0 0,23-3-1987 0 0,15 3-6881 0 0,-17 1 3300 0 0,-17-1 5033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9.04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8 12207 0 0,'4'-2'456'0'0,"0"1"0"0"0,0 0 0 0 0,0 0-1 0 0,1 0 1 0 0,-1 1 0 0 0,5-1 0 0 0,-7 1-675 0 0,0 0 0 0 0,0 0 1 0 0,0 0-1 0 0,-1 0 0 0 0,1 0 0 0 0,0 1 1 0 0,0-1-1 0 0,0 1 0 0 0,-1-1 0 0 0,1 1 1 0 0,0-1-1 0 0,0 1 0 0 0,-1 0 1 0 0,1 0-1 0 0,-1 0 0 0 0,4 2 0 0 0,-15 10-10981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9.4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3 12695 0 0,'0'0'1382'0'0,"14"0"827"0"0,-8-1-2291 0 0,0 0 1 0 0,0 0 0 0 0,11 1-1 0 0,-10 1-3585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5.88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1 3887 0 0,'7'3'7319'0'0,"-7"-3"-7027"0"0,9 12 2464 0 0,4 13-1923 0 0,-7-12-889 0 0,-1 1 0 0 0,0 1 0 0 0,-1-1-1 0 0,-1 0 1 0 0,2 24 0 0 0,-5-38 53 0 0,1 1-1 0 0,-1-1 1 0 0,0 0 0 0 0,0 0 0 0 0,0 1-1 0 0,0-1 1 0 0,0 0 0 0 0,0 1 0 0 0,0-1 0 0 0,0 0-1 0 0,0 0 1 0 0,0 1 0 0 0,0-1 0 0 0,0 0-1 0 0,0 0 1 0 0,0 1 0 0 0,-1-1 0 0 0,1 0-1 0 0,0 0 1 0 0,0 1 0 0 0,0-1 0 0 0,0 0-1 0 0,0 0 1 0 0,0 0 0 0 0,-1 1 0 0 0,1-1-1 0 0,0 0 1 0 0,0 0 0 0 0,0 0 0 0 0,-1 1-1 0 0,1-1 1 0 0,0 0 0 0 0,0 0 0 0 0,0 0 0 0 0,-1 0-1 0 0,1 0 1 0 0,0 0 0 0 0,0 0 0 0 0,-1 1-1 0 0,1-1 1 0 0,0 0 0 0 0,0 0 0 0 0,-1 0-1 0 0,0 0-7 0 0,1-1-1 0 0,-1 1 0 0 0,1 0 1 0 0,-1 0-1 0 0,1 0 0 0 0,-1-1 1 0 0,1 1-1 0 0,0 0 0 0 0,-1-1 0 0 0,1 1 1 0 0,-1 0-1 0 0,1-1 0 0 0,0 1 1 0 0,-1-1-1 0 0,1 1 0 0 0,0 0 1 0 0,-1-1-1 0 0,1 1 0 0 0,0-1 1 0 0,-1 0-1 0 0,-2-7 45 0 0,0 1-1 0 0,1-1 1 0 0,-1 0 0 0 0,2 0-1 0 0,-1-1 1 0 0,1 1 0 0 0,0-12-1 0 0,1 11 310 0 0,1 0-1 0 0,0-1 0 0 0,0 2 1 0 0,1-1-1 0 0,4-13 0 0 0,-5 19-340 0 0,0 1 0 0 0,1-1 0 0 0,-1 1 0 0 0,1-1 0 0 0,-1 1 0 0 0,1-1 0 0 0,0 1 0 0 0,-1 0 0 0 0,5-3 0 0 0,-5 4-226 0 0,1 0 0 0 0,-1 0 1 0 0,1 0-1 0 0,-1 0 0 0 0,1 0 0 0 0,-1 1 1 0 0,1-1-1 0 0,0 0 0 0 0,-1 1 0 0 0,1 0 1 0 0,0-1-1 0 0,0 1 0 0 0,-1 0 0 0 0,1 0 1 0 0,0 0-1 0 0,0 0 0 0 0,1 0 0 0 0,-1 1-796 0 0,0-1 0 0 0,-1 1 0 0 0,1-1 0 0 0,0 1 0 0 0,-1 0 0 0 0,1 0 0 0 0,0 0 0 0 0,-1 0 0 0 0,1 0 0 0 0,1 1 0 0 0,0 1 343 0 0,0-1 375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8.39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 7223 0 0,'-1'0'8239'0'0,"2"9"-7824"0"0,0 0 0 0 0,1 1 0 0 0,0-1 0 0 0,4 12 0 0 0,4 22-321 0 0,-5-15-296 0 0,-2-12-2388 0 0,1 29 0 0 0,-9-58-7009 0 0,4 9 8868 0 0,-5-10-547 0 0,4 5 1052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8.78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4 12607 0 0,'2'-1'260'0'0,"0"-1"-1"0"0,0 1 1 0 0,0 0-1 0 0,0 0 0 0 0,0 0 1 0 0,1 0-1 0 0,-1 0 1 0 0,0 0-1 0 0,1 1 1 0 0,-1-1-1 0 0,0 1 0 0 0,3-1 1 0 0,14 0-1487 0 0,-2 1-4419 0 0,-13 0 2921 0 0,3 2-2571 0 0,-5-2 4681 0 0</inkml:trace>
  <inkml:trace contextRef="#ctx0" brushRef="#br0" timeOffset="1">111 21 4319 0 0,'-2'12'1936'0'0,"7"24"9116"0"0,1-19-11978 0 0,-18-40-1491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49.62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3 12239 0 0,'0'0'1088'0'0,"4"0"-872"0"0,-1 1-216 0 0,1 1 0 0 0,1-2-64 0 0,-1 1-64 0 0,1-1 0 0 0,-1 0-8 0 0,2-1-656 0 0,0 0-128 0 0,0 0-24 0 0,0 1-8 0 0,0-2-1008 0 0,-1 1-208 0 0,1 1-40 0 0,0-1 0 0 0,-1 1 1760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9.17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 36 11831 0 0,'6'33'1687'0'0,"-3"-17"-868"0"0,0 1 1 0 0,8 19 0 0 0,-10-33-779 0 0,6 21 190 0 0,-7-23-334 0 0,-9-15-1330 0 0,6 10 1454 0 0,0-1 1 0 0,1 0 0 0 0,0 1 0 0 0,0-1-1 0 0,0 0 1 0 0,0 0 0 0 0,1 0 0 0 0,-2-10-1 0 0,2 6 324 0 0,0-1 0 0 0,1 0 1 0 0,2-18-1 0 0,-2 26-316 0 0,1-1 1 0 0,0 1-1 0 0,0-1 1 0 0,0 1-1 0 0,0 0 0 0 0,0-1 1 0 0,1 1-1 0 0,-1 0 1 0 0,1 0-1 0 0,2-3 1 0 0,-3 4-22 0 0,0 0-1 0 0,0 0 1 0 0,0 0 0 0 0,0 0 0 0 0,0 0-1 0 0,0 0 1 0 0,1 0 0 0 0,-1 0-1 0 0,0 0 1 0 0,0 1 0 0 0,1-1 0 0 0,-1 0-1 0 0,0 1 1 0 0,1 0 0 0 0,-1-1 0 0 0,1 1-1 0 0,-1 0 1 0 0,0-1 0 0 0,1 1 0 0 0,1 0-1 0 0,-2 0-12 0 0,-1 0-1 0 0,1 0 0 0 0,-1 1 1 0 0,1-1-1 0 0,-1 0 1 0 0,1 0-1 0 0,-1 0 1 0 0,1 0-1 0 0,-1 1 0 0 0,1-1 1 0 0,-1 0-1 0 0,0 1 1 0 0,1-1-1 0 0,-1 0 0 0 0,1 1 1 0 0,-1-1-1 0 0,0 0 1 0 0,1 1-1 0 0,-1-1 1 0 0,0 1-1 0 0,0-1 0 0 0,1 1 1 0 0,-1-1-1 0 0,0 1 1 0 0,0-1-1 0 0,0 0 0 0 0,1 1 1 0 0,-1-1-1 0 0,0 1 1 0 0,0 0-1 0 0,0-1 1 0 0,0 1-1 0 0,0-1 0 0 0,0 1 1 0 0,0-1-1 0 0,0 1 1 0 0,0-1-1 0 0,0 1 0 0 0,0-1 1 0 0,-1 1-1 0 0,1-1 1 0 0,0 1-1 0 0,0-1 1 0 0,0 1-1 0 0,-1-1 0 0 0,1 0 1 0 0,-1 1-1 0 0,1 1-23 0 0,-1 0 0 0 0,0-1 0 0 0,-1 1 0 0 0,1-1 0 0 0,0 1 0 0 0,0-1 0 0 0,-1 1 0 0 0,1-1 0 0 0,0 0 0 0 0,-1 1 0 0 0,-2 0 0 0 0,1-1-259 0 0,0 0-1 0 0,0 0 1 0 0,0 0-1 0 0,0-1 1 0 0,0 1-1 0 0,-4-1 1 0 0,7 0 122 0 0,-1 0 0 0 0,0 0 1 0 0,1 0-1 0 0,-1 0 1 0 0,1 0-1 0 0,-1 0 1 0 0,0 0-1 0 0,1 0 1 0 0,-1 0-1 0 0,0 0 0 0 0,1 0 1 0 0,-1 0-1 0 0,1 0 1 0 0,-1-1-1 0 0,0 1 1 0 0,1 0-1 0 0,-1-1 1 0 0,1 1-1 0 0,-1 0 0 0 0,1-1 1 0 0,-1 1-1 0 0,1 0 1 0 0,-1-1-1 0 0,1 1 1 0 0,0-1-1 0 0,-1 1 1 0 0,1-1-1 0 0,-1 1 0 0 0,1-1 1 0 0,0 1-1 0 0,-1-1 1 0 0,1 1-1 0 0,0-1 1 0 0,0 0-1 0 0,0 1 1 0 0,-1-2-1 0 0,6-6-6554 0 0,-2 6 5921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9.54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 12007 0 0,'0'0'923'0'0,"15"-2"1285"0"0,18 4-2582 0 0,-8 1-3452 0 0,-1-6-5559 0 0,-17 0 8367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49.98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9 12007 0 0,'4'21'4821'0'0,"10"18"-4823"0"0,-4-12-875 0 0,-1-5-501 0 0,-7-20 557 0 0,-5-15 37 0 0,1 5 471 0 0,-9-42-60 0 0,11 47 488 0 0,-1-1 0 0 0,1 1 0 0 0,0-1 0 0 0,0 1 0 0 0,0 0 0 0 0,0-1 0 0 0,1 1 0 0 0,0-1 0 0 0,-1 1 0 0 0,1 0 0 0 0,0-1 0 0 0,2-3 0 0 0,-2 6-155 0 0,-1 1 0 0 0,0-1 0 0 0,1 0 0 0 0,-1 1 0 0 0,1-1 0 0 0,-1 1-1 0 0,1-1 1 0 0,0 0 0 0 0,-1 1 0 0 0,1-1 0 0 0,0 1 0 0 0,-1 0 0 0 0,1-1-1 0 0,0 1 1 0 0,-1-1 0 0 0,1 1 0 0 0,0 0 0 0 0,0 0 0 0 0,-1-1 0 0 0,1 1 0 0 0,0 0-1 0 0,0 0 1 0 0,-1 0 0 0 0,1 0 0 0 0,0 0 0 0 0,0 0 0 0 0,0 0 0 0 0,0 0 0 0 0,3 1-1245 0 0,0 0 1 0 0,-1 0 0 0 0,0 0 0 0 0,1 1 0 0 0,3 1-1 0 0,9 4-2795 0 0,-9-5 3693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50.38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5 7423 0 0,'0'0'160'0'0,"1"-1"0"0"0,-1 1-1 0 0,0 0 1 0 0,0-1 0 0 0,0 1-1 0 0,1 0 1 0 0,-1 0 0 0 0,0-1-1 0 0,0 1 1 0 0,1 0 0 0 0,-1 0-1 0 0,0 0 1 0 0,1 0 0 0 0,-1-1-1 0 0,0 1 1 0 0,0 0-1 0 0,1 0 1 0 0,-1 0 0 0 0,0 0-1 0 0,1 0 1 0 0,-1 0 0 0 0,0 0-1 0 0,1 0 1 0 0,-1 0 0 0 0,1 0-1 0 0,-1 0 1 0 0,0 0 0 0 0,1 0-1 0 0,-1 0 1 0 0,0 0 0 0 0,1 0-1 0 0,-1 0 1 0 0,1 1 5 0 0,0-1-1 0 0,-1 1 1 0 0,1-1 0 0 0,-1 1 0 0 0,1 0-1 0 0,-1 0 1 0 0,1-1 0 0 0,-1 1-1 0 0,1 0 1 0 0,-1 0 0 0 0,0-1 0 0 0,1 3-1 0 0,6 33 36 0 0,-6-27 174 0 0,2 6-406 0 0,0-1-144 0 0,0 0 0 0 0,0 20 0 0 0,1-64-692 0 0,-3 28 942 0 0,-1 0 0 0 0,1 0 0 0 0,-1 1 0 0 0,1-1 0 0 0,-1 0 0 0 0,1 1-1 0 0,0-1 1 0 0,0 0 0 0 0,0 1 0 0 0,0-1 0 0 0,0 1 0 0 0,0 0 0 0 0,0-1-1 0 0,3-1 1 0 0,-3 3-50 0 0,0-1-1 0 0,0 1 1 0 0,0 0 0 0 0,0 0-1 0 0,0 0 1 0 0,0 0-1 0 0,0 0 1 0 0,0 0-1 0 0,0 0 1 0 0,0 0 0 0 0,0 1-1 0 0,0-1 1 0 0,0 0-1 0 0,0 1 1 0 0,0-1-1 0 0,0 1 1 0 0,0-1-1 0 0,0 1 1 0 0,0-1 0 0 0,0 1-1 0 0,0-1 1 0 0,0 1-1 0 0,-1 0 1 0 0,1 0-1 0 0,0-1 1 0 0,0 1 0 0 0,-1 0-1 0 0,1 0 1 0 0,0 1-1 0 0,18 28-50 0 0,-15-25 98 0 0,1 2-1778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50.76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5 2503 0 0,'1'-2'2798'0'0,"3"25"8130"0"0,6 0-9270 0 0,-9-21-1752 0 0,0-1 0 0 0,0 1 0 0 0,0-1 0 0 0,0 0 0 0 0,1 1 0 0 0,-1-1-1 0 0,0 0 1 0 0,1 0 0 0 0,-1 0 0 0 0,1 0 0 0 0,-1 0 0 0 0,1 0 0 0 0,-1 0-1 0 0,1 0 1 0 0,0 0 0 0 0,-1-1 0 0 0,1 1 0 0 0,0-1 0 0 0,-1 1 0 0 0,1-1 0 0 0,0 0-1 0 0,0 0 1 0 0,0 0 0 0 0,3 0 0 0 0,-4 0 6 0 0,0-1-1 0 0,0 1 1 0 0,0-1 0 0 0,0 1 0 0 0,0-1-1 0 0,0 0 1 0 0,0 0 0 0 0,0 1 0 0 0,0-1-1 0 0,-1 0 1 0 0,1 0 0 0 0,0 0 0 0 0,0 0-1 0 0,-1 0 1 0 0,1 0 0 0 0,-1 0 0 0 0,1 0-1 0 0,-1 0 1 0 0,1 0 0 0 0,-1 0 0 0 0,1 0-1 0 0,-1 0 1 0 0,0-1 0 0 0,0 1 0 0 0,0 0-1 0 0,0 0 1 0 0,0 0 0 0 0,0-2 0 0 0,1-4 32 0 0,-1 1-1 0 0,-1 0 1 0 0,-1-12 0 0 0,1 14 918 0 0,1 10-325 0 0,2 14-364 0 0,1-11-692 0 0,2 10-923 0 0,-5-19 968 0 0,0 1 1 0 0,0-1-1 0 0,1 1 0 0 0,-1 0 0 0 0,0-1 1 0 0,1 1-1 0 0,-1 0 0 0 0,0-1 0 0 0,1 1 1 0 0,5 3-4265 0 0,-3-7 2331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51.1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28 0 12695 0 0,'0'0'978'0'0,"1"19"1484"0"0,16 41-3155 0 0,-9-36-316 0 0,-6-16-320 0 0,-6-23 200 0 0,3-6 992 0 0,1 21 185 0 0,-1-1-1 0 0,1 1 0 0 0,0 0 0 0 0,0-1 0 0 0,0 1 0 0 0,1-1 0 0 0,-1 1 0 0 0,0 0 0 0 0,0-1 1 0 0,0 1-1 0 0,0 0 0 0 0,0-1 0 0 0,0 1 0 0 0,0-1 0 0 0,1 1 0 0 0,-1 0 0 0 0,0-1 0 0 0,0 1 1 0 0,1 0-1 0 0,-1 0 0 0 0,0-1 0 0 0,0 1 0 0 0,1 0 0 0 0,-1-1 0 0 0,0 1 0 0 0,1 0 0 0 0,-1 0 1 0 0,0 0-1 0 0,1-1 0 0 0,-1 1 0 0 0,0 0 0 0 0,1 0 0 0 0,-1 0 0 0 0,1 0 0 0 0,1 0 28 0 0,0 1 0 0 0,0-1-1 0 0,1 1 1 0 0,-1 0 0 0 0,0-1-1 0 0,0 1 1 0 0,0 0 0 0 0,0 1-1 0 0,-1-1 1 0 0,1 0 0 0 0,0 0-1 0 0,0 1 1 0 0,-1-1-1 0 0,1 1 1 0 0,-1 0 0 0 0,1-1-1 0 0,-1 1 1 0 0,0 0 0 0 0,1 0-1 0 0,-1 0 1 0 0,1 2 0 0 0,-2-3-115 0 0,1 0 1 0 0,-1 0 0 0 0,1 0 0 0 0,-1-1-1 0 0,1 1 1 0 0,-1 0 0 0 0,0 0-1 0 0,1 0 1 0 0,-1 0 0 0 0,0 0-1 0 0,0 0 1 0 0,0 0 0 0 0,0 0 0 0 0,0 0-1 0 0,0 0 1 0 0,0 0 0 0 0,0 0-1 0 0,0 0 1 0 0,0 0 0 0 0,-1 0-1 0 0,1 0 1 0 0,0 0 0 0 0,-1 0 0 0 0,1 0-1 0 0,-1 0 1 0 0,1 0 0 0 0,-1 0-1 0 0,1 0 1 0 0,-1-1 0 0 0,1 1-1 0 0,-1 0 1 0 0,0 0 0 0 0,0-1 0 0 0,1 1-1 0 0,-1 0 1 0 0,0-1 0 0 0,0 1-1 0 0,0-1 1 0 0,0 1 0 0 0,0-1-1 0 0,1 0 1 0 0,-1 1 0 0 0,0-1-1 0 0,0 0 1 0 0,0 1 0 0 0,0-1 0 0 0,-1 0-1 0 0,-42 4-4338 0 0,12-3-3381 0 0,28-1 7124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51.58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5 63 12583 0 0,'-15'-1'3944'0'0,"21"-1"-3823"0"0,0 1-1 0 0,0 0 1 0 0,-1 0 0 0 0,1 0-1 0 0,0 1 1 0 0,0 0 0 0 0,10 1-1 0 0,8 0 63 0 0,57-3-179 0 0,208-11-182 0 0,27-15-4033 0 0,-226 22 2182 0 0,-56 2 448 0 0,-22 2 579 0 0,0 1 1 0 0,23 0-1 0 0,-32 1 617 0 0,-2 0 96 0 0,0 0-1 0 0,0 0 1 0 0,0 0-1 0 0,1 0 1 0 0,-1 0-1 0 0,0 0 1 0 0,0 0-1 0 0,0 1 1 0 0,0-1-1 0 0,0 0 1 0 0,0 1 0 0 0,0-1-1 0 0,1 1 1 0 0,-1-1-1 0 0,0 1 1 0 0,-1 0-1 0 0,1-1 1 0 0,2 3-1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52.18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39 7111 0 0,'6'-23'6492'0'0,"3"42"-4080"0"0,-3-1-1712 0 0,-3-11-737 0 0,-1 0-1 0 0,1 1 1 0 0,-2-1 0 0 0,1 1-1 0 0,1 15 1 0 0,-5-41-701 0 0,1 14 690 0 0,0 1 0 0 0,1-1 1 0 0,0 1-1 0 0,-1 0 0 0 0,1-1 1 0 0,1-5-1 0 0,0 5 99 0 0,0 0-1 0 0,0 0 1 0 0,0 0-1 0 0,1 1 0 0 0,0-1 1 0 0,-1 0-1 0 0,1 1 1 0 0,0-1-1 0 0,1 1 1 0 0,-1-1-1 0 0,1 1 0 0 0,-1 0 1 0 0,5-4-1 0 0,-6 6-26 0 0,1 0 0 0 0,0 0 0 0 0,-1 0 0 0 0,1 0 0 0 0,0 0 0 0 0,-1 0 0 0 0,1 0 0 0 0,0 1 0 0 0,0-1 0 0 0,0 0-1 0 0,0 1 1 0 0,0 0 0 0 0,0-1 0 0 0,0 1 0 0 0,0 0 0 0 0,0 0 0 0 0,0 0 0 0 0,0 0 0 0 0,0 1 0 0 0,-1-1 0 0 0,1 0 0 0 0,0 1 0 0 0,0-1 0 0 0,0 1 0 0 0,0 0-1 0 0,0 0 1 0 0,-1 0 0 0 0,4 1 0 0 0,-2 1 32 0 0,0-1-1 0 0,0 1 1 0 0,0 0 0 0 0,0 0-1 0 0,-1 0 1 0 0,1 0-1 0 0,-1 0 1 0 0,0 0-1 0 0,0 1 1 0 0,0-1 0 0 0,2 6-1 0 0,-3-6-42 0 0,0 0-1 0 0,0 0 1 0 0,0 0 0 0 0,0 0-1 0 0,0 0 1 0 0,-1 0 0 0 0,1 0-1 0 0,-1 0 1 0 0,0 0 0 0 0,0 0-1 0 0,0 0 1 0 0,0 0 0 0 0,-1 0-1 0 0,1 0 1 0 0,-2 5 0 0 0,2-8-111 0 0,-1 0 1 0 0,1 1 0 0 0,0-1 0 0 0,0 1 0 0 0,-1-1 0 0 0,1 0 0 0 0,0 1 0 0 0,-1-1 0 0 0,1 0 0 0 0,0 0 0 0 0,-1 1 0 0 0,1-1-1 0 0,0 0 1 0 0,-1 0 0 0 0,1 1 0 0 0,-1-1 0 0 0,1 0 0 0 0,0 0 0 0 0,-1 0 0 0 0,1 0 0 0 0,-1 1 0 0 0,1-1 0 0 0,-1 0 0 0 0,1 0-1 0 0,0 0 1 0 0,-1 0 0 0 0,1 0 0 0 0,-1 0 0 0 0,1 0 0 0 0,-1-1 0 0 0,1 1 0 0 0,-1 0 0 0 0,1 0 0 0 0,0 0 0 0 0,-1 0 0 0 0,1 0-1 0 0,-1-1 1 0 0,1 1 0 0 0,0 0 0 0 0,-1 0 0 0 0,1-1 0 0 0,0 1 0 0 0,-1-1 0 0 0,-1 0-1193 0 0,0 0 0 0 0,1 0 1 0 0,-1-1-1 0 0,1 1 0 0 0,-1-1 0 0 0,1 1 0 0 0,0-1 1 0 0,-2-2-1 0 0,0-2 48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6.58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20 9647 0 0,'0'-1'105'0'0,"0"1"-1"0"0,1 0 1 0 0,-1-1 0 0 0,0 1-1 0 0,1 0 1 0 0,-1-1-1 0 0,0 1 1 0 0,0 0-1 0 0,1-1 1 0 0,-1 1-1 0 0,0 0 1 0 0,0-1-1 0 0,0 1 1 0 0,0-1 0 0 0,0 1-1 0 0,1 0 1 0 0,-1-1-1 0 0,0 1 1 0 0,0-1-1 0 0,0 1 1 0 0,0 0-1 0 0,0-1 1 0 0,0 1-1 0 0,0-1 1 0 0,0 1-1 0 0,-1-1 1 0 0,2-8 1919 0 0,-2 21 2277 0 0,7 14-3835 0 0,-1-5-224 0 0,13 70 54 0 0,-14-72-310 0 0,-2-11-13 0 0,0 0 1 0 0,0 0 0 0 0,-1 0-1 0 0,0 1 1 0 0,-1-1 0 0 0,0 0-1 0 0,-2 15 1 0 0,-4-27-385 0 0,3-6 271 0 0,0 1-1 0 0,1-1 0 0 0,0 0 1 0 0,0 1-1 0 0,0-17 1 0 0,1 9 59 0 0,0 5-124 0 0,1-1 0 0 0,1-16 0 0 0,-1 26 179 0 0,0-1 1 0 0,1 1-1 0 0,-1-1 1 0 0,1 0-1 0 0,0 1 1 0 0,0-1-1 0 0,0 1 1 0 0,1 0-1 0 0,-1-1 1 0 0,1 1-1 0 0,0 0 1 0 0,3-5 0 0 0,-4 7 38 0 0,0 0 1 0 0,0 0-1 0 0,0 1 1 0 0,0-1-1 0 0,0 0 1 0 0,0 0 0 0 0,0 0-1 0 0,1 1 1 0 0,-1-1-1 0 0,0 1 1 0 0,0-1 0 0 0,1 1-1 0 0,-1-1 1 0 0,0 1-1 0 0,0 0 1 0 0,1-1-1 0 0,-1 1 1 0 0,0 0 0 0 0,1 0-1 0 0,-1 0 1 0 0,2 0-1 0 0,-1 1 13 0 0,0-1-1 0 0,0 1 0 0 0,0 0 1 0 0,1 0-1 0 0,-1 0 0 0 0,-1 0 1 0 0,1 0-1 0 0,0 0 0 0 0,0 0 1 0 0,0 1-1 0 0,2 2 0 0 0,1 1 38 0 0,0 0 0 0 0,-1 1 0 0 0,0 0 0 0 0,0 0 0 0 0,0 0 0 0 0,-1 0 0 0 0,3 7 0 0 0,-1-1-25 0 0,1 5 23 0 0,7 24 0 0 0,-16-54-78 0 0,0 1 0 0 0,-1-24-1 0 0,3 33 18 0 0,1 0 1 0 0,0 0-1 0 0,0 0 0 0 0,0 0 0 0 0,1 0 0 0 0,-1 1 1 0 0,1-1-1 0 0,-1 0 0 0 0,1 0 0 0 0,0 0 0 0 0,0 0 1 0 0,0 1-1 0 0,1-1 0 0 0,-1 1 0 0 0,1-1 0 0 0,-1 1 1 0 0,1-1-1 0 0,0 1 0 0 0,2-3 0 0 0,-2 4 17 0 0,-1 0-1 0 0,1 0 0 0 0,0 0 1 0 0,-1 1-1 0 0,1-1 1 0 0,0 0-1 0 0,0 1 1 0 0,-1-1-1 0 0,1 1 0 0 0,0 0 1 0 0,0 0-1 0 0,0-1 1 0 0,0 1-1 0 0,-1 0 0 0 0,1 1 1 0 0,0-1-1 0 0,0 0 1 0 0,0 0-1 0 0,0 1 0 0 0,-1-1 1 0 0,1 1-1 0 0,0 0 1 0 0,0-1-1 0 0,-1 1 1 0 0,1 0-1 0 0,0 0 0 0 0,-1 0 1 0 0,2 2-1 0 0,1-1-9 0 0,0 1-1 0 0,-1 0 0 0 0,1 0 1 0 0,-1 0-1 0 0,0 0 1 0 0,0 1-1 0 0,0 0 1 0 0,-1-1-1 0 0,1 1 0 0 0,2 6 1 0 0,5 13 29 0 0,-5-13 10 0 0,0 1-1 0 0,-1-1 1 0 0,-1 1-1 0 0,0 0 1 0 0,4 21-1 0 0,-4 13 99 0 0,-3-46-411 0 0,0-1 0 0 0,-1 1 0 0 0,1 0 0 0 0,-1 0 0 0 0,1 0-1 0 0,0 0 1 0 0,-1 0 0 0 0,0 0 0 0 0,1 0 0 0 0,-1 1 0 0 0,0-1 0 0 0,1 0-1 0 0,-2-1 1 0 0,-7-10-2747 0 0,1-31-8202 0 0,8 29 10202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6.98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13015 0 0,'0'0'999'0'0,"19"9"1004"0"0,-16-8-3025 0 0,6 1 2953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51.77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5 352 7631 0 0,'2'5'575'0'0,"0"0"0"0"0,0 0 0 0 0,0 1 0 0 0,-1-1 1 0 0,0 0-1 0 0,0 1 0 0 0,0 6 0 0 0,0 0 1091 0 0,-1-12-1619 0 0,0 0-1 0 0,0 0 1 0 0,0 0-1 0 0,1 1 1 0 0,-1-1 0 0 0,0 0-1 0 0,0 0 1 0 0,0 0-1 0 0,0 0 1 0 0,0 0 0 0 0,0 0-1 0 0,0 1 1 0 0,0-1-1 0 0,0 0 1 0 0,0 0-1 0 0,0 0 1 0 0,0 0 0 0 0,0 0-1 0 0,0 0 1 0 0,0 1-1 0 0,0-1 1 0 0,0 0 0 0 0,0 0-1 0 0,0 0 1 0 0,0 0-1 0 0,0 0 1 0 0,0 0 0 0 0,0 0-1 0 0,-1 1 1 0 0,1-1-1 0 0,0 0 1 0 0,0 0 0 0 0,0 0-1 0 0,0 0 1 0 0,0 0-1 0 0,0 0 1 0 0,0 0 0 0 0,0 0-1 0 0,0 0 1 0 0,-1 1-1 0 0,1-1 1 0 0,0 0 0 0 0,0 0-1 0 0,0 0 1 0 0,-5-5 622 0 0,-5-10-360 0 0,0-9-169 0 0,1-1 1 0 0,0-1 0 0 0,2 1 0 0 0,1-1 0 0 0,-3-31 0 0 0,8 45-86 0 0,0 0-1 0 0,1 0 1 0 0,0 0 0 0 0,1 0-1 0 0,1-1 1 0 0,0 2 0 0 0,0-1-1 0 0,1 0 1 0 0,0 0 0 0 0,1 1-1 0 0,1 0 1 0 0,0 0 0 0 0,10-18-1 0 0,-13 26-112 0 0,1 0 0 0 0,-1 0 0 0 0,1 1 0 0 0,-1-1 0 0 0,1 0 0 0 0,0 1 0 0 0,0 0 0 0 0,1 0 0 0 0,4-3 0 0 0,-7 4 41 0 0,0 1 0 0 0,0-1 1 0 0,0 1-1 0 0,0-1 0 0 0,0 1 0 0 0,0 0 1 0 0,0-1-1 0 0,0 1 0 0 0,0 0 1 0 0,0 0-1 0 0,1 0 0 0 0,-1 0 0 0 0,0 0 1 0 0,0 0-1 0 0,0 0 0 0 0,0 0 0 0 0,0 0 1 0 0,0 1-1 0 0,0-1 0 0 0,0 0 1 0 0,1 1-1 0 0,-1-1 0 0 0,0 1 0 0 0,0-1 1 0 0,0 1-1 0 0,-1-1 0 0 0,1 1 0 0 0,0 0 1 0 0,0-1-1 0 0,0 1 0 0 0,0 0 0 0 0,0 0 1 0 0,-1 0-1 0 0,1 0 0 0 0,1 1 1 0 0,-2 0-23 0 0,1 0 0 0 0,-1 0 1 0 0,1 0-1 0 0,-1 0 1 0 0,0 0-1 0 0,1 0 0 0 0,-1 0 1 0 0,0 0-1 0 0,0 0 1 0 0,-1 0-1 0 0,1 0 0 0 0,0 0 1 0 0,-1 0-1 0 0,1 0 1 0 0,-2 4-1 0 0,-13 28-1094 0 0,-14 12 227 0 0,25-41 906 0 0,1 0 0 0 0,-1 0 1 0 0,0-1-1 0 0,-1 0 0 0 0,1 1 1 0 0,-10 5-1 0 0,22-30-14219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7.33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11287 0 0,'0'0'867'0'0,"17"1"364"0"0,27 1 585 0 0,-22-2-3655 0 0,0 1-6688 0 0,-21 6 4171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7.71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4 6159 0 0,'0'0'472'0'0,"3"9"660"0"0,1 0 3827 0 0,-3-9-4741 0 0,0 1 1 0 0,0-1-1 0 0,0 0 1 0 0,0 1-1 0 0,0-1 1 0 0,0 0-1 0 0,0 0 1 0 0,0 0-1 0 0,0 0 0 0 0,0 0 1 0 0,0 0-1 0 0,1 0 1 0 0,22-4-1172 0 0,0-2-2119 0 0,13-4-7015 0 0,-28 7 9156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8.90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2 19 11831 0 0,'0'0'3474'0'0,"2"17"-1373"0"0,-7 71-1084 0 0,3-66-1006 0 0,-2 17 32 0 0,-7 24-33 0 0,7-50-20 0 0,1 0-1 0 0,-1 14 0 0 0,4-32-604 0 0,-1 1-1 0 0,1-1 1 0 0,0 1-1 0 0,1-7 1 0 0,12-55-941 0 0,-9 39 1162 0 0,2 0 1 0 0,10-30 0 0 0,-10 39 928 0 0,10-23 782 0 0,-14 37-1182 0 0,-1 1-1 0 0,1 0 1 0 0,0-1 0 0 0,1 1-1 0 0,-1 0 1 0 0,0 0 0 0 0,1 0-1 0 0,5-4 1 0 0,-7 7-142 0 0,-1-1-1 0 0,1 1 1 0 0,-1 0-1 0 0,1-1 1 0 0,-1 1-1 0 0,1 0 1 0 0,0 0 0 0 0,-1-1-1 0 0,1 1 1 0 0,0 0-1 0 0,-1 0 1 0 0,1 0-1 0 0,-1 0 1 0 0,1 0 0 0 0,0 0-1 0 0,-1 0 1 0 0,1 0-1 0 0,0 0 1 0 0,-1 0 0 0 0,1 1-1 0 0,-1-1 1 0 0,1 0-1 0 0,0 0 1 0 0,-1 1-1 0 0,1-1 1 0 0,-1 0 0 0 0,1 0-1 0 0,-1 1 1 0 0,1-1-1 0 0,-1 1 1 0 0,1-1-1 0 0,-1 1 1 0 0,1-1 0 0 0,-1 0-1 0 0,0 1 1 0 0,1-1-1 0 0,-1 1 1 0 0,1 0 0 0 0,-1-1-1 0 0,0 1 1 0 0,1 0-1 0 0,2 5-98 0 0,-1-1 0 0 0,1 1-1 0 0,1 8 1 0 0,-2-10 171 0 0,27 113 2061 0 0,-6-18-1339 0 0,-22-97-899 0 0,0 0-1 0 0,-1 1 1 0 0,1-1-1 0 0,-1 1 1 0 0,0-1 0 0 0,0 1-1 0 0,0-1 1 0 0,0 1-1 0 0,0-1 1 0 0,0 1-1 0 0,-1 2 1 0 0,-14-11-6457 0 0,8 2 4323 0 0,0 0 1 0 0,0-1 0 0 0,-10-9-1 0 0,8 7 1662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9.26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13903 0 0,'0'0'1488'0'0,"1"2"-1488"0"0,4-1 0 0 0,3 1 128 0 0,-1 0-16 0 0,-1 0-8 0 0,1-1 0 0 0,3-1-360 0 0,-2 0-80 0 0,-2 0-16 0 0,1 0 0 0 0,1-2-2528 0 0,-1 1-512 0 0,-2 0-104 0 0,2 0-24 0 0,0-1 2816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09.8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22 7687 0 0,'0'0'6644'0'0,"18"-6"-5186"0"0,-7 3-1254 0 0,0 1 1 0 0,12-1 0 0 0,19-4-2165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0.30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13103 0 0,'0'0'2451'0'0,"15"9"-935"0"0,-7-6-1722 0 0,0-1 1 0 0,0 0-1 0 0,1-1 1 0 0,-1 1-1 0 0,15-1 1 0 0,-1-2-3239 0 0,-2-3-4146 0 0,-12 2 4524 0 0,-2-1 1888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0.76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65 414 6103 0 0,'1'2'110'0'0,"0"-1"1"0"0,0 1-1 0 0,0-1 0 0 0,0 1 0 0 0,0 0 0 0 0,-1-1 0 0 0,1 1 0 0 0,0 0 0 0 0,-1 0 0 0 0,1 0 0 0 0,-1-1 0 0 0,0 3 0 0 0,2 13 7229 0 0,-9-22-6007 0 0,-19-85 272 0 0,17 62-1501 0 0,-11-52 0 0 0,19 74-62 0 0,-11-100 425 0 0,12 96-414 0 0,0-1 0 0 0,0 1 0 0 0,1 0 0 0 0,1-1 0 0 0,-1 1 0 0 0,2 0 0 0 0,-1 0 0 0 0,6-12 0 0 0,-6 18 10 0 0,0 1-1 0 0,0-1 1 0 0,0 0 0 0 0,0 1-1 0 0,6-7 1 0 0,-8 10-91 0 0,1-1 0 0 0,0 0 0 0 0,-1 1 0 0 0,1-1 0 0 0,-1 1 0 0 0,1-1 0 0 0,0 1 0 0 0,-1-1 0 0 0,1 1 0 0 0,0-1 0 0 0,0 1 0 0 0,-1 0 0 0 0,1-1 0 0 0,0 1 0 0 0,0 0 0 0 0,0 0 0 0 0,-1 0 0 0 0,1 0 0 0 0,0 0-1 0 0,0 0 1 0 0,0 0 0 0 0,0 0 0 0 0,-1 0 0 0 0,1 0 0 0 0,0 0 0 0 0,0 0 0 0 0,0 0 0 0 0,-1 1 0 0 0,1-1 0 0 0,0 0 0 0 0,0 1 0 0 0,-1-1 0 0 0,1 0 0 0 0,0 1 0 0 0,1 0 0 0 0,-1 1 3 0 0,1-1 0 0 0,-1 1 0 0 0,1 0 1 0 0,-1 0-1 0 0,1 0 0 0 0,-1 0 0 0 0,0 0 0 0 0,0 0 0 0 0,0 0 0 0 0,0 0 0 0 0,-1 1 0 0 0,1-1 0 0 0,0 0 0 0 0,-1 0 0 0 0,0 1 0 0 0,1-1 0 0 0,-1 0 1 0 0,0 1-1 0 0,0-1 0 0 0,0 1 0 0 0,-1-1 0 0 0,1 0 0 0 0,0 0 0 0 0,-1 1 0 0 0,0-1 0 0 0,1 0 0 0 0,-1 0 0 0 0,-1 3 0 0 0,-1 0-93 0 0,1 1-1 0 0,-1-1 0 0 0,0 1 1 0 0,0-1-1 0 0,-1 0 1 0 0,1-1-1 0 0,-1 1 0 0 0,0 0 1 0 0,-9 6-1 0 0,12-10-110 0 0,-4-5-2670 0 0,2-12-9794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5.92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4 39 7567 0 0,'0'0'583'0'0,"9"-10"4434"0"0,-9 9-4912 0 0,0 0 0 0 0,0 0 0 0 0,0 0 0 0 0,0 1 0 0 0,0-1 0 0 0,0 0 0 0 0,0 0 0 0 0,0 0 0 0 0,0 0 0 0 0,0 0 0 0 0,0 1 0 0 0,-1-1 0 0 0,1 0 0 0 0,0 0 0 0 0,-1 0 0 0 0,1 1 0 0 0,0-1 0 0 0,-1 0 0 0 0,1 0 0 0 0,-1 1 0 0 0,1-1 0 0 0,-1 0 0 0 0,0 1 0 0 0,1-1 0 0 0,-1 1 0 0 0,0-1 0 0 0,0 0 0 0 0,0 0-29 0 0,0 1 1 0 0,0-1-1 0 0,0 0 1 0 0,1 1-1 0 0,-1-1 0 0 0,0 1 1 0 0,0-1-1 0 0,0 1 1 0 0,0-1-1 0 0,0 1 0 0 0,0 0 1 0 0,0 0-1 0 0,-1-1 1 0 0,1 1-1 0 0,0 0 1 0 0,0 0-1 0 0,0 0 0 0 0,0 0 1 0 0,0 0-1 0 0,0 0 1 0 0,0 1-1 0 0,-2-1 1 0 0,1 2-50 0 0,1 0 0 0 0,0-1 0 0 0,0 1 0 0 0,-1 0 0 0 0,1 0 0 0 0,0-1 0 0 0,0 1 0 0 0,1 0 0 0 0,-1 0 0 0 0,0 0 0 0 0,1 0 0 0 0,-1 0 1 0 0,1 0-1 0 0,0 1 0 0 0,-1 2 0 0 0,0 2-148 0 0,0-1 108 0 0,0-1 0 0 0,0 1 0 0 0,1 0 1 0 0,0-1-1 0 0,0 1 0 0 0,1 6 0 0 0,-1-9-10 0 0,1 0-1 0 0,-1 0 1 0 0,1 0 0 0 0,0 0-1 0 0,0 0 1 0 0,0 0 0 0 0,0 0-1 0 0,1-1 1 0 0,-1 1-1 0 0,1 0 1 0 0,0-1 0 0 0,3 5-1 0 0,-5-7 11 0 0,1 1 0 0 0,-1-1 0 0 0,0 0 1 0 0,1 1-1 0 0,-1-1 0 0 0,1 0 0 0 0,-1 1 0 0 0,1-1 0 0 0,-1 0 0 0 0,1 0 0 0 0,-1 1 0 0 0,1-1 0 0 0,-1 0 0 0 0,1 0 1 0 0,-1 0-1 0 0,1 0 0 0 0,-1 0 0 0 0,1 0 0 0 0,0 0 0 0 0,-1 0 0 0 0,1 0 0 0 0,-1 0 0 0 0,1 0 0 0 0,-1 0 0 0 0,1 0 0 0 0,1-1-47 0 0,-1 0-1 0 0,0 1 1 0 0,0-1-1 0 0,0 0 1 0 0,1 1-1 0 0,-1-1 1 0 0,0 0-1 0 0,0 0 1 0 0,0 0-1 0 0,0-1 0 0 0,2-2-240 0 0,0 0 0 0 0,0-1 0 0 0,0 1 0 0 0,2-7-1 0 0,-4 7 162 0 0,1 1-1 0 0,-1 0 1 0 0,-1-1-1 0 0,1 1 1 0 0,0 0-1 0 0,-1-1 1 0 0,1-5-1 0 0,-2 9 63 0 0,3 3 154 0 0,-1 0-1 0 0,0 0 1 0 0,0 1 0 0 0,-1-1 0 0 0,1 6 0 0 0,0-5-85 0 0,-1-3-107 0 0,0-1 0 0 0,0 1 0 0 0,0-1 0 0 0,0 0 0 0 0,0 1 0 0 0,0-1 0 0 0,0 1 0 0 0,0-1 0 0 0,0 1 0 0 0,1-1 0 0 0,-1 1 0 0 0,0-1 0 0 0,0 1 0 0 0,0-1 0 0 0,1 0 0 0 0,-1 1 0 0 0,0-1 0 0 0,1 1 0 0 0,-1-1 0 0 0,1 1 0 0 0,9-21-11974 0 0,-8 13 12763 0 0,0 0-924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6.29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3 10567 0 0,'0'0'812'0'0,"9"15"1652"0"0,-1-1-1515 0 0,9 22 0 0 0,-4-9-787 0 0,-12-23-162 0 0,0-3 0 0 0,-1-1 0 0 0,0 1 0 0 0,0 0 0 0 0,0-1 0 0 0,1 1 0 0 0,-1 0 0 0 0,0-1 0 0 0,1 1 0 0 0,-1-1 0 0 0,1 1 0 0 0,-1 0 0 0 0,0-1 0 0 0,1 1 0 0 0,-1-1 0 0 0,1 1 0 0 0,0-1 0 0 0,-1 0 0 0 0,1 1 0 0 0,-1-1 0 0 0,1 0 0 0 0,1 1 0 0 0,-2-1-12 0 0,0 0 0 0 0,1 0 0 0 0,-1 0 0 0 0,1 0 0 0 0,-1 0 0 0 0,0-1 0 0 0,1 1 0 0 0,-1 0 0 0 0,1 0 0 0 0,-1-1 0 0 0,0 1-1 0 0,1 0 1 0 0,-1 0 0 0 0,0-1 0 0 0,1 1 0 0 0,-1 0 0 0 0,0-1 0 0 0,0 1 0 0 0,1 0 0 0 0,-1-1 0 0 0,0 1 0 0 0,0-1 0 0 0,0 1 0 0 0,0 0 0 0 0,1-1 0 0 0,-1 1 0 0 0,0-1-1 0 0,0 1 1 0 0,0 0 0 0 0,0-1 0 0 0,0 1 0 0 0,0-1 0 0 0,0 1 0 0 0,0-1 0 0 0,0 0 0 0 0,1-19-265 0 0,-1 19 260 0 0,-1-34-148 0 0,1 24-1064 0 0,-1 0 0 0 0,3-16 0 0 0,-3 23-1654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9.41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8 9471 0 0,'0'0'728'0'0,"7"-8"4719"0"0,-6 9-5364 0 0,1-1 0 0 0,-1 0-1 0 0,0 1 1 0 0,1-1 0 0 0,-1 1 0 0 0,1-1 0 0 0,-1 1 0 0 0,0-1-1 0 0,0 1 1 0 0,1 0 0 0 0,-1 0 0 0 0,0 0 0 0 0,2 2 0 0 0,16 17 372 0 0,-9-9-187 0 0,6 5-153 0 0,0 0 0 0 0,-1 0 0 0 0,-1 2 1 0 0,19 31-1 0 0,-28-39-74 0 0,0 0 0 0 0,0 0 0 0 0,-1 0 1 0 0,-1 1-1 0 0,1 0 0 0 0,-2 0 0 0 0,0-1 0 0 0,0 2 1 0 0,-1-1-1 0 0,0 0 0 0 0,-1 14 0 0 0,-1-15-52 0 0,0 1 1 0 0,-1-1-1 0 0,0 0 0 0 0,0 0 0 0 0,-1 0 0 0 0,-5 11 0 0 0,6-15 1 0 0,-1-1 0 0 0,0 0 0 0 0,0 0 0 0 0,0 0-1 0 0,-1 0 1 0 0,0 0 0 0 0,1 0 0 0 0,-2-1 0 0 0,1 0 0 0 0,0 0 0 0 0,-1 0-1 0 0,-5 3 1 0 0,9-7-37 0 0,1 1 0 0 0,0-1 0 0 0,0 0 0 0 0,-1 0 0 0 0,1 1 0 0 0,0-1 1 0 0,-1 0-1 0 0,1 0 0 0 0,0 0 0 0 0,-1 0 0 0 0,1 0 0 0 0,-1 0 0 0 0,1 1 0 0 0,0-1 0 0 0,-1 0 0 0 0,1 0 0 0 0,0 0 0 0 0,-1 0 0 0 0,1 0 0 0 0,0 0 0 0 0,-1-1 0 0 0,1 1 0 0 0,-1 0 0 0 0,1 0 0 0 0,0 0 0 0 0,-1 0 0 0 0,1 0 0 0 0,0 0 1 0 0,-1-1-1 0 0,-2-9-4547 0 0,3 6 2788 0 0,0 1 0 0 0,1 0-1 0 0,-1 0 1 0 0,1-1 0 0 0,1-5-1 0 0,2 2 791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24.59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 11255 0 0,'0'0'867'0'0,"20"-3"3224"0"0,-11 4-3723 0 0,0 0-90 0 0,-1 1 1 0 0,1 0-1 0 0,0 0 0 0 0,13 6 1 0 0,-20-7-257 0 0,1 0 1 0 0,-1 0-1 0 0,0 1 1 0 0,0-1-1 0 0,1 1 1 0 0,-1 0-1 0 0,0 0 1 0 0,0 0-1 0 0,-1 0 1 0 0,1 0 0 0 0,0 0-1 0 0,-1 0 1 0 0,1 1-1 0 0,-1-1 1 0 0,0 1-1 0 0,0-1 1 0 0,0 1-1 0 0,0-1 1 0 0,1 5-1 0 0,2 13-6 0 0,-2 1 0 0 0,0 0 0 0 0,-2 35 0 0 0,0-23 12 0 0,9 139 149 0 0,0 11 842 0 0,-9-179-1007 0 0,0-1-1 0 0,0 1 0 0 0,0-1 0 0 0,0 1 1 0 0,-1-1-1 0 0,0 0 0 0 0,0 1 1 0 0,0-1-1 0 0,0 0 0 0 0,0 0 0 0 0,-1 1 1 0 0,-1 3-1 0 0,1-6-26 0 0,1 1 1 0 0,-1-1-1 0 0,1 1 0 0 0,-1-1 0 0 0,0 0 1 0 0,0 1-1 0 0,0-1 0 0 0,1 0 0 0 0,-1 0 1 0 0,0 0-1 0 0,0-1 0 0 0,0 1 0 0 0,0 0 1 0 0,-1-1-1 0 0,1 1 0 0 0,0-1 1 0 0,0 0-1 0 0,0 1 0 0 0,0-1 0 0 0,-4-1 1 0 0,-15 2-2238 0 0,31-11-2266 0 0,-8 7 3240 0 0,10-8-3704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9.88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7855 0 0,'6'2'6570'0'0,"6"1"-5102"0"0,-6 0-1301 0 0,13 7 18 0 0,-18-9-161 0 0,-1-1 1 0 0,1 1-1 0 0,0 0 1 0 0,-1 0-1 0 0,1 0 1 0 0,-1 0-1 0 0,1 0 1 0 0,-1 0-1 0 0,1-1 1 0 0,-1 1-1 0 0,0 0 1 0 0,1 0-1 0 0,-1 0 1 0 0,0 1 0 0 0,0-1-1 0 0,0 0 1 0 0,0 0-1 0 0,0 0 1 0 0,0 1-1 0 0,0 2 13 0 0,-1-1 0 0 0,0 0 0 0 0,0 1 0 0 0,0-1 0 0 0,0 0 0 0 0,-1 0 0 0 0,1 1 0 0 0,-1-1 0 0 0,0 0 0 0 0,0-1 0 0 0,-4 7-1 0 0,3-6 85 0 0,0 0-1 0 0,1 1 0 0 0,0-1 1 0 0,0 1-1 0 0,0 0 0 0 0,-3 8 1 0 0,5-12-93 0 0,0 0 1 0 0,0 1 0 0 0,0-1 0 0 0,0 1 0 0 0,0-1 0 0 0,0 1 0 0 0,0-1 0 0 0,0 0 0 0 0,0 1 0 0 0,0-1-1 0 0,0 1 1 0 0,0-1 0 0 0,0 0 0 0 0,0 1 0 0 0,1-1 0 0 0,-1 1 0 0 0,0-1 0 0 0,0 0 0 0 0,0 1 0 0 0,1-1-1 0 0,-1 0 1 0 0,0 1 0 0 0,1-1 0 0 0,-1 0 0 0 0,0 1 0 0 0,1-1 0 0 0,-1 1 0 0 0,15 4 166 0 0,17-3-2078 0 0,-23-3-2452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46.49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4 8663 0 0,'0'0'3322'0'0,"14"-3"-302"0"0,-3 7-2554 0 0,-1 0-262 0 0,-1 1-1 0 0,18 10 0 0 0,-24-13-198 0 0,1 1 0 0 0,-1 0 0 0 0,0 0 0 0 0,-1-1 0 0 0,1 2 0 0 0,0-1 0 0 0,-1 0 0 0 0,0 0 0 0 0,1 1 0 0 0,-2-1 0 0 0,3 6 0 0 0,-1-2-21 0 0,-1 0 1 0 0,0 0 0 0 0,-1 0 0 0 0,1 1 0 0 0,-2-1-1 0 0,1 10 1 0 0,-3 47-172 0 0,0-32 211 0 0,0 38 283 0 0,2 0 0 0 0,14 90-1 0 0,-13-155-198 0 0,-1-1 0 0 0,0 0 0 0 0,1 0 0 0 0,-1 0 0 0 0,-1 1 1 0 0,1-1-1 0 0,-1 0 0 0 0,1 0 0 0 0,-1 0 0 0 0,0 0 0 0 0,-1 0 0 0 0,1 0 0 0 0,-4 6 0 0 0,4-8-36 0 0,0 0 1 0 0,-1-1-1 0 0,1 1 1 0 0,-1 0-1 0 0,0 0 1 0 0,1-1-1 0 0,-1 1 1 0 0,0-1-1 0 0,0 1 0 0 0,0-1 1 0 0,0 0-1 0 0,0 0 1 0 0,-1 0-1 0 0,1 0 1 0 0,0 0-1 0 0,0-1 1 0 0,-1 1-1 0 0,1 0 0 0 0,0-1 1 0 0,-1 0-1 0 0,1 0 1 0 0,-1 1-1 0 0,1-2 1 0 0,-5 1-1 0 0,-3 0 1034 0 0,0-1-6427 0 0,10 0 5142 0 0,0 1 1 0 0,0 0 0 0 0,0-1 0 0 0,0 1-1 0 0,0 0 1 0 0,0-1 0 0 0,0 1 0 0 0,0 0-1 0 0,0-1 1 0 0,0 1 0 0 0,0 0 0 0 0,0-1 0 0 0,0 1-1 0 0,0 0 1 0 0,1 0 0 0 0,-1-1 0 0 0,0 1-1 0 0,0 0 1 0 0,0-1 0 0 0,0 1 0 0 0,1 0 0 0 0,-1 0-1 0 0,0-1 1 0 0,0 1 0 0 0,1 0 0 0 0,-1 0-1 0 0,0-1 1 0 0,0 1 0 0 0,1 0 0 0 0,-1 0-1 0 0,0 0 1 0 0,1 0 0 0 0,11-13-2469 0 0,0 2-29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48.72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84 2 2359 0 0,'-4'-1'13142'0'0,"-13"1"-10576"0"0,14 0-2548 0 0,-2 0 35 0 0,0 0-1 0 0,0 0 0 0 0,-1 1 1 0 0,1 0-1 0 0,-9 3 1 0 0,13-4-46 0 0,0 1 0 0 0,0-1 0 0 0,0 1 0 0 0,0 0 0 0 0,-1-1 1 0 0,1 1-1 0 0,0 0 0 0 0,0 0 0 0 0,0 0 0 0 0,1 0 0 0 0,-1 0 0 0 0,0 0 0 0 0,0 0 1 0 0,0 0-1 0 0,1 0 0 0 0,-1 1 0 0 0,1-1 0 0 0,-1 0 0 0 0,1 0 0 0 0,-1 1 0 0 0,1-1 1 0 0,0 0-1 0 0,-1 0 0 0 0,1 1 0 0 0,0-1 0 0 0,0 0 0 0 0,0 3 0 0 0,1 5-58 0 0,0-1 0 0 0,0 1 0 0 0,1-1 0 0 0,3 10 0 0 0,3 14-52 0 0,3 34 459 0 0,-3 0 1 0 0,-2 117 0 0 0,-9-129-44 0 0,1-15-9 0 0,1-1 0 0 0,5 44-1 0 0,-4-79-286 0 0,1 0 0 0 0,-1 0 0 0 0,1 0-1 0 0,0 0 1 0 0,-1-1 0 0 0,1 1 0 0 0,1 0 0 0 0,2 5 0 0 0,-3-7-28 0 0,0 0 1 0 0,0 0-1 0 0,0 1 1 0 0,0-1-1 0 0,1 0 1 0 0,-1 0-1 0 0,0 0 1 0 0,1 0-1 0 0,-1 0 1 0 0,1-1-1 0 0,-1 1 1 0 0,1 0-1 0 0,0-1 1 0 0,-1 1-1 0 0,1-1 1 0 0,2 1 0 0 0,22 5-329 0 0,-8-2-2926 0 0,-17-4 3093 0 0,-1 0 0 0 0,0 0 1 0 0,1 0-1 0 0,-1 0 0 0 0,1-1 1 0 0,-1 1-1 0 0,0 0 0 0 0,0 0 1 0 0,1-1-1 0 0,-1 1 0 0 0,0 0 1 0 0,1-1-1 0 0,-1 1 0 0 0,0 0 1 0 0,0-1-1 0 0,1 1 0 0 0,-1 0 1 0 0,0-1-1 0 0,0 1 0 0 0,0 0 1 0 0,0-1-1 0 0,0 1 0 0 0,1-1 1 0 0,-1 1-1 0 0,0 0 1 0 0,0-1-1 0 0,0 1 0 0 0,0-1 1 0 0,0-1-723 0 0,2-7-3892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57.7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5 399 9935 0 0,'0'0'1339'0'0,"-3"-15"-2"0"0,-11-51 1077 0 0,5 28-1074 0 0,-9-73 1 0 0,18 100-1279 0 0,-1 0 0 0 0,1 0 0 0 0,1 0 0 0 0,0-1 0 0 0,1 2 0 0 0,0-1 0 0 0,0 0 0 0 0,1 0 0 0 0,1 1 0 0 0,0-1 0 0 0,6-12 0 0 0,-8 21-71 0 0,-1-1 1 0 0,1 1-1 0 0,0-1 1 0 0,0 1-1 0 0,0 0 1 0 0,0 0-1 0 0,4-4 1 0 0,-5 6-14 0 0,-1-1 1 0 0,1 1-1 0 0,-1 0 0 0 0,1-1 1 0 0,-1 1-1 0 0,1 0 1 0 0,-1 0-1 0 0,1-1 1 0 0,0 1-1 0 0,-1 0 0 0 0,1 0 1 0 0,-1 0-1 0 0,1 0 1 0 0,-1 0-1 0 0,1 0 1 0 0,0 0-1 0 0,-1 0 1 0 0,1 0-1 0 0,-1 0 0 0 0,1 0 1 0 0,-1 0-1 0 0,1 0 1 0 0,0 1-1 0 0,-1-1 1 0 0,1 0-1 0 0,-1 0 1 0 0,1 1-1 0 0,-1-1 0 0 0,1 0 1 0 0,-1 1-1 0 0,1-1 1 0 0,-1 0-1 0 0,0 1 1 0 0,1-1-1 0 0,-1 1 0 0 0,1-1 1 0 0,-1 1-1 0 0,0-1 1 0 0,1 1-1 0 0,-1-1 1 0 0,0 1-1 0 0,0-1 1 0 0,1 1-1 0 0,-1-1 0 0 0,0 2 1 0 0,3 5-199 0 0,-1 0 1 0 0,0 0-1 0 0,0 1 0 0 0,-1-1 1 0 0,0 1-1 0 0,-1-1 1 0 0,1 1-1 0 0,-1-1 0 0 0,0 1 1 0 0,-1-1-1 0 0,0 0 1 0 0,0 1-1 0 0,-1-1 0 0 0,0 0 1 0 0,0 0-1 0 0,-1 1 1 0 0,0-2-1 0 0,0 1 0 0 0,0 0 1 0 0,-1-1-1 0 0,0 1 1 0 0,0-1-1 0 0,-8 9 0 0 0,11-15 163 0 0,1 0 1 0 0,0 1-1 0 0,0-1 0 0 0,-1 0 0 0 0,1 1 0 0 0,0-1 1 0 0,0 0-1 0 0,-1 0 0 0 0,1 1 0 0 0,0-1 0 0 0,-1 0 1 0 0,1 0-1 0 0,0 0 0 0 0,-1 1 0 0 0,1-1 0 0 0,-1 0 0 0 0,1 0 1 0 0,0 0-1 0 0,-1 0 0 0 0,1 0 0 0 0,0 0 0 0 0,-1 0 1 0 0,1 0-1 0 0,-1 0 0 0 0,1 0 0 0 0,-1 0 0 0 0,1 0-124 0 0,-1-1-1 0 0,1 1 0 0 0,0 0 0 0 0,0-1 1 0 0,-1 1-1 0 0,1-1 0 0 0,0 1 1 0 0,0 0-1 0 0,0-1 0 0 0,0 1 0 0 0,0-1 1 0 0,-1 1-1 0 0,1-1 0 0 0,0 1 1 0 0,0-1-1 0 0,0 1 0 0 0,0 0 0 0 0,0-2 1 0 0,1 0-540 0 0,-1-1 1 0 0,0 0 0 0 0,1 1-1 0 0,-1-1 1 0 0,1 0 0 0 0,0 1-1 0 0,1-4 1 0 0,4-2-139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58.13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01 12 13847 0 0,'-16'-10'3762'0'0,"13"9"-3656"0"0,1 1-1 0 0,-1 0 1 0 0,0 0 0 0 0,1 0 0 0 0,-1 0 0 0 0,0 0 0 0 0,0 1 0 0 0,1-1 0 0 0,-1 1 0 0 0,1 0 0 0 0,-1 0 0 0 0,0 0 0 0 0,1 0 0 0 0,0 0 0 0 0,-1 0 0 0 0,1 1 0 0 0,0-1 0 0 0,-1 1 0 0 0,1 0 0 0 0,0-1-1 0 0,0 1 1 0 0,0 0 0 0 0,1 0 0 0 0,-1 0 0 0 0,0 1 0 0 0,1-1 0 0 0,0 0 0 0 0,-1 1 0 0 0,0 2 0 0 0,-1 0-46 0 0,1 1-1 0 0,-1 0 1 0 0,1 0 0 0 0,1-1-1 0 0,-1 1 1 0 0,1 0 0 0 0,0 1-1 0 0,0-1 1 0 0,1 0 0 0 0,0 0-1 0 0,1 11 1 0 0,0-11-78 0 0,0 0 0 0 0,0 0 0 0 0,1 0 0 0 0,-1-1 0 0 0,2 1 0 0 0,3 7 0 0 0,-5-11-20 0 0,0 0-1 0 0,1 0 1 0 0,0 0 0 0 0,-1 0-1 0 0,1 0 1 0 0,0 0 0 0 0,0 0-1 0 0,0-1 1 0 0,0 1 0 0 0,0-1-1 0 0,0 1 1 0 0,1-1 0 0 0,-1 0 0 0 0,0 0-1 0 0,1 0 1 0 0,-1 0 0 0 0,4 0-1 0 0,-2 0-126 0 0,0-1 0 0 0,-1 1 0 0 0,1-1 0 0 0,0 0 0 0 0,5-1 0 0 0,5-3-2226 0 0,-13 4 1916 0 0,0-1 0 0 0,0 1 0 0 0,-1 0 0 0 0,1-1 0 0 0,0 0-1 0 0,-1 1 1 0 0,1-1 0 0 0,0 1 0 0 0,-1-1 0 0 0,1 0 0 0 0,-1 0-1 0 0,1 1 1 0 0,0-2 0 0 0,4-12-2713 0 0,0 2-119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59.33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01 40 9271 0 0,'0'-2'295'0'0,"1"1"1"0"0,-1 0-1 0 0,0 0 0 0 0,0 0 0 0 0,0 0 0 0 0,0-1 0 0 0,0 1 0 0 0,0 0 1 0 0,0 0-1 0 0,0 0 0 0 0,0-1 0 0 0,0 1 0 0 0,-1 0 0 0 0,1 0 0 0 0,0 0 1 0 0,-1 0-1 0 0,1 0 0 0 0,-1 0 0 0 0,0-2 0 0 0,0 2-116 0 0,0 0 1 0 0,-1 0-1 0 0,1-1 0 0 0,0 1 0 0 0,0 1 1 0 0,0-1-1 0 0,-1 0 0 0 0,1 0 0 0 0,0 0 1 0 0,-1 1-1 0 0,1-1 0 0 0,-1 0 0 0 0,-2 0 1 0 0,2 1-104 0 0,0-1 1 0 0,-1 1-1 0 0,1 0 1 0 0,0-1-1 0 0,-1 1 1 0 0,1 0-1 0 0,0 0 1 0 0,-1 1-1 0 0,1-1 1 0 0,0 0-1 0 0,-1 1 1 0 0,1-1-1 0 0,0 1 1 0 0,-1 0-1 0 0,1 0 1 0 0,0 0-1 0 0,0 0 1 0 0,0 0-1 0 0,-4 3 1 0 0,3 0-28 0 0,0-1 0 0 0,1 1 1 0 0,-1 0-1 0 0,1 0 0 0 0,-1 0 0 0 0,1 0 1 0 0,0 0-1 0 0,1 0 0 0 0,-1 1 1 0 0,1-1-1 0 0,0 0 0 0 0,0 1 0 0 0,0 0 1 0 0,1-1-1 0 0,-1 1 0 0 0,1-1 0 0 0,0 1 1 0 0,0 0-1 0 0,2 8 0 0 0,-1-10-74 0 0,0 1 0 0 0,-1-1-1 0 0,1 0 1 0 0,0 0 0 0 0,0 0 0 0 0,1 0-1 0 0,-1 0 1 0 0,1 0 0 0 0,-1 0-1 0 0,1 0 1 0 0,0 0 0 0 0,0-1 0 0 0,0 1-1 0 0,1-1 1 0 0,-1 1 0 0 0,0-1-1 0 0,1 0 1 0 0,0 0 0 0 0,-1 0 0 0 0,1 0-1 0 0,0-1 1 0 0,0 1 0 0 0,0-1-1 0 0,0 0 1 0 0,0 0 0 0 0,1 0-1 0 0,-1 0 1 0 0,4 0 0 0 0,-3 0-185 0 0,1-1 0 0 0,0 0 1 0 0,0 0-1 0 0,-1 0 0 0 0,1-1 0 0 0,7-1 1 0 0,-10 1-318 0 0,0 1 0 0 0,0-1 0 0 0,0 0 0 0 0,0 0 1 0 0,-1 0-1 0 0,1 0 0 0 0,3-2 0 0 0,3-8-8922 0 0,-8 10 8590 0 0,1-1 0 0 0,-1-1 0 0 0,1-2-339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2.58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 10711 0 0,'4'-2'4572'0'0,"7"2"-3469"0"0,9 1-1002 0 0,41 2 1286 0 0,-34-3-4243 0 0,-13 0-2132 0 0,0 0-3379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2.99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 0 8863 0 0,'0'0'687'0'0,"-3"17"3412"0"0,7 45-1762 0 0,-2-35-2486 0 0,-2 29-1 0 0,0-51 1743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3.36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12551 0 0,'1'16'534'0'0,"0"-1"1"0"0,1 0-1 0 0,7 23 0 0 0,2 13-785 0 0,-6-32 94 0 0,0 5-5036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7.66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8 1 4287 0 0,'-1'2'6496'0'0,"-2"12"-4061"0"0,-7 15-12 0 0,-6 37 0 0 0,2 33-1014 0 0,10-36-1336 0 0,5 72 0 0 0,1-106 4 0 0,1 0-1 0 0,7 30 1 0 0,-6-44-91 0 0,0 0 1 0 0,1 0-1 0 0,1 0 0 0 0,0-1 1 0 0,12 20-1 0 0,-15-28-82 0 0,1-1 0 0 0,0-1 0 0 0,0 1 0 0 0,0-1 0 0 0,0 1 0 0 0,1-1 0 0 0,0 0 0 0 0,-1-1 0 0 0,2 1 0 0 0,-1-1 0 0 0,0 0-1 0 0,10 4 1 0 0,-11-6-465 0 0,1 1 0 0 0,-1-1 0 0 0,1 0 0 0 0,-1 0 0 0 0,1-1 0 0 0,-1 1 0 0 0,1-1-1 0 0,0 0 1 0 0,-1 0 0 0 0,9-2 0 0 0,-11 2-316 0 0,0-1-1 0 0,0 1 1 0 0,0-1 0 0 0,0 0-1 0 0,0 0 1 0 0,0 0 0 0 0,0 0-1 0 0,0 0 1 0 0,0-1 0 0 0,-1 1-1 0 0,4-3 1 0 0,3-4-374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26.47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26 9527 0 0,'3'-10'4226'0'0,"2"19"-705"0"0,-3-5-4084 0 0,36 79 1235 0 0,-35-63-826 0 0,-3-20 150 0 0,0 0 1 0 0,0 0-1 0 0,0 0 1 0 0,0 0-1 0 0,0 0 1 0 0,0 0-1 0 0,0 0 1 0 0,0 0-1 0 0,0 0 1 0 0,0 0-1 0 0,0 0 1 0 0,0 0-1 0 0,0 0 1 0 0,0 0-1 0 0,0 0 1 0 0,0 0-1 0 0,0 0 1 0 0,0 0-1 0 0,0 0 1 0 0,0 0-1 0 0,0 0 1 0 0,0 0-1 0 0,-1 0 1 0 0,1 0-1 0 0,0 0 1 0 0,0 0-1 0 0,0 0 1 0 0,0 0-1 0 0,0 0 1 0 0,0 1-1 0 0,0-1 1 0 0,0 0-1 0 0,0 0 1 0 0,0 0-1 0 0,0 0 1 0 0,0 0-1 0 0,0 0 1 0 0,0 0-1 0 0,0 0 1 0 0,0 0-1 0 0,0 0 1 0 0,-2-13-149 0 0,0 4-315 0 0,0-3 38 0 0,1-1 0 0 0,0-18 0 0 0,1 28 416 0 0,0 0 0 0 0,0 0 0 0 0,1 0 0 0 0,-1 0 0 0 0,1 0 0 0 0,0 0 0 0 0,0 0 0 0 0,0 0 0 0 0,0 0 0 0 0,0 1 0 0 0,1-1-1 0 0,-1 0 1 0 0,1 1 0 0 0,0-1 0 0 0,3-3 0 0 0,-5 6 0 0 0,1-1 0 0 0,-1 0-1 0 0,1 1 1 0 0,-1 0 0 0 0,1-1 0 0 0,0 1-1 0 0,-1-1 1 0 0,1 1 0 0 0,-1 0-1 0 0,1-1 1 0 0,0 1 0 0 0,0 0-1 0 0,-1 0 1 0 0,1-1 0 0 0,0 1 0 0 0,-1 0-1 0 0,1 0 1 0 0,0 0 0 0 0,0 0-1 0 0,-1 0 1 0 0,1 0 0 0 0,0 0 0 0 0,0 0-1 0 0,-1 0 1 0 0,2 1 0 0 0,-1-1 26 0 0,1 1-1 0 0,-1 0 1 0 0,0 0 0 0 0,0 0 0 0 0,1 0 0 0 0,-1 0-1 0 0,0 0 1 0 0,0 0 0 0 0,0 0 0 0 0,0 0 0 0 0,1 3 0 0 0,3 3 237 0 0,-1 1 0 0 0,0 0 1 0 0,3 11-1 0 0,-5-15-94 0 0,2 8 328 0 0,1 0-1572 0 0,-6-26-1034 0 0,1 10 2099 0 0,-1 0-1 0 0,1 0 1 0 0,0 0-1 0 0,0 1 1 0 0,1-1-1 0 0,-1 0 1 0 0,1 0-1 0 0,-1 1 1 0 0,1-1-1 0 0,1 0 0 0 0,1-4 1 0 0,-2 6 47 0 0,-1 1-1 0 0,1 0 1 0 0,0 0 0 0 0,-1 0 0 0 0,1 0-1 0 0,0 0 1 0 0,0 1 0 0 0,0-1 0 0 0,0 0-1 0 0,0 0 1 0 0,0 0 0 0 0,0 1 0 0 0,0-1-1 0 0,0 1 1 0 0,0-1 0 0 0,0 1 0 0 0,1-1-1 0 0,-1 1 1 0 0,0 0 0 0 0,0-1 0 0 0,1 1 0 0 0,-1 0-1 0 0,0 0 1 0 0,0 0 0 0 0,1 0 0 0 0,-1 0-1 0 0,0 0 1 0 0,0 0 0 0 0,0 0 0 0 0,1 1-1 0 0,-1-1 1 0 0,0 0 0 0 0,0 1 0 0 0,0-1-1 0 0,1 1 1 0 0,-1-1 0 0 0,0 1 0 0 0,1 1-1 0 0,0-1 74 0 0,1 1 0 0 0,-1 0 0 0 0,0 0-1 0 0,1 1 1 0 0,-1-1 0 0 0,0 0 0 0 0,-1 1 0 0 0,1-1-1 0 0,0 1 1 0 0,-1 0 0 0 0,1-1 0 0 0,-1 1 0 0 0,0 0-1 0 0,0 0 1 0 0,0 0 0 0 0,0 0 0 0 0,-1 0 0 0 0,1 0-1 0 0,-1 0 1 0 0,0 0 0 0 0,1 0 0 0 0,-1 0 0 0 0,-1 0-1 0 0,1 4 1 0 0,-1-6-150 0 0,1-1 1 0 0,0 0-1 0 0,0 0 0 0 0,0 1 0 0 0,0-1 1 0 0,0 0-1 0 0,0 1 0 0 0,0-1 0 0 0,0 0 1 0 0,-1 0-1 0 0,1 1 0 0 0,0-1 0 0 0,0 0 1 0 0,0 0-1 0 0,-1 1 0 0 0,1-1 0 0 0,0 0 1 0 0,0 0-1 0 0,-1 0 0 0 0,1 0 0 0 0,0 1 1 0 0,0-1-1 0 0,-1 0 0 0 0,1 0 0 0 0,0 0 0 0 0,-1 0 1 0 0,1 0-1 0 0,0 0 0 0 0,0 0 0 0 0,-1 0 1 0 0,1 0-1 0 0,0 0 0 0 0,-1 0 0 0 0,-9-6-3933 0 0,-7-14-4915 0 0,11 11 7846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8.23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6 12295 0 0,'0'0'944'0'0,"6"13"578"0"0,6 21-908 0 0,-1 0 1 0 0,-1 1 0 0 0,5 38-1 0 0,-15-73-710 0 0,-4-9-860 0 0,-1-3 875 0 0,1 0 1 0 0,1 0-1 0 0,0 0 0 0 0,1 0 0 0 0,0-1 0 0 0,1 1 1 0 0,1 0-1 0 0,0-1 0 0 0,2-17 0 0 0,-2 27 151 0 0,1 0-1 0 0,0 0 1 0 0,0 0-1 0 0,0 0 1 0 0,0 0-1 0 0,1 0 1 0 0,-1 0-1 0 0,1 0 1 0 0,0 1 0 0 0,0-1-1 0 0,0 1 1 0 0,0-1-1 0 0,0 1 1 0 0,5-4-1 0 0,-5 4-254 0 0,0 1 1 0 0,0 0-1 0 0,0 0 0 0 0,0 0 0 0 0,1 0 1 0 0,-1 0-1 0 0,0 0 0 0 0,1 1 0 0 0,-1-1 0 0 0,0 1 1 0 0,1-1-1 0 0,-1 1 0 0 0,0 0 0 0 0,1 0 1 0 0,-1 0-1 0 0,1 0 0 0 0,-1 1 0 0 0,0-1 1 0 0,1 1-1 0 0,3 0 0 0 0,2 5-3456 0 0,5 2-4241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18.67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0 7423 0 0,'0'0'4482'0'0,"19"0"-1085"0"0,-15 0-3213 0 0,37-4 781 0 0,-15-2-3482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4.26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7 4199 0 0,'9'-7'11184'0'0,"-8"20"-10539"0"0,0 0 0 0 0,3 12 0 0 0,2 24-1621 0 0,-6-28-42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5.79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10391 0 0,'12'13'1124'0'0,"5"5"306"0"0,23 19-1 0 0,-21-21-285 0 0,-9-6-934 0 0,-1 0 0 0 0,0 0-1 0 0,0 1 1 0 0,-1 0 0 0 0,0 0 0 0 0,-1 1 0 0 0,0 0 0 0 0,-1 1 0 0 0,0-1-1 0 0,-1 1 1 0 0,0 0 0 0 0,-1 1 0 0 0,-1-1 0 0 0,3 22 0 0 0,-4-16-185 0 0,-1 1 0 0 0,-1 0 1 0 0,-1 0-1 0 0,-1 0 0 0 0,-1 0 1 0 0,0-1-1 0 0,-1 1 1 0 0,-2-1-1 0 0,-11 30 0 0 0,13-40 56 0 0,-21 47 464 0 0,22-49-590 0 0,0-1 0 0 0,-1-1 0 0 0,0 1 0 0 0,0 0 0 0 0,0-1 0 0 0,-10 9 0 0 0,14-14-10 0 0,0 0 0 0 0,0 0 0 0 0,0 1 0 0 0,-1-1 0 0 0,1 0 0 0 0,0 0 0 0 0,0 0 0 0 0,0 0 0 0 0,-1 1 0 0 0,1-1 0 0 0,0 0 0 0 0,0 0 0 0 0,-1 0 0 0 0,1 0 0 0 0,0 0 0 0 0,-1 0 0 0 0,1 0 0 0 0,0 0 0 0 0,0 0 0 0 0,-1 0 0 0 0,1 0 0 0 0,0 0 0 0 0,0 0 0 0 0,-1 0 0 0 0,1 0 0 0 0,0 0 0 0 0,-1 0 0 0 0,1 0 0 0 0,0 0 0 0 0,0 0 0 0 0,-1 0 0 0 0,1 0 0 0 0,0 0 0 0 0,-1-1 0 0 0,-2-9-3983 0 0,2-19-3666 0 0,2 26 7118 0 0,0-17-3232 0 0,1 9 3138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6.27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8 3 8175 0 0,'12'-1'3122'0'0,"13"-1"-191"0"0,-25 2-2940 0 0,1 0 1 0 0,0 0-1 0 0,0 0 1 0 0,-1 0-1 0 0,1 1 1 0 0,0-1-1 0 0,0 0 1 0 0,0 0-1 0 0,-1 0 1 0 0,1 1-1 0 0,0-1 1 0 0,-1 0-1 0 0,1 1 1 0 0,0-1-1 0 0,-1 1 1 0 0,1-1-1 0 0,0 1 1 0 0,-1-1-1 0 0,1 1 1 0 0,-1-1-1 0 0,1 1 1 0 0,-1 0-1 0 0,1-1 1 0 0,0 2-1 0 0,-1-1 23 0 0,0 0 1 0 0,0 0-1 0 0,0 0 0 0 0,0 0 0 0 0,0 0 0 0 0,0 0 1 0 0,0 0-1 0 0,0 0 0 0 0,-1 0 0 0 0,1 1 0 0 0,0-1 1 0 0,-1 0-1 0 0,1 0 0 0 0,0 0 0 0 0,-1 0 0 0 0,0 0 1 0 0,1-1-1 0 0,-1 1 0 0 0,0 1 0 0 0,-17 19 622 0 0,14-17-452 0 0,-29 30 3268 0 0,51-31-2942 0 0,1 2-939 0 0,23 4-1456 0 0,-28-7-2346 0 0,-1 0-3340 0 0,-9-2 4413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6.63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20 14279 0 0,'0'0'1103'0'0,"14"-6"282"0"0,0 4-1814 0 0,0 0 0 0 0,18 1-1 0 0,0 0-4066 0 0,0-3-4852 0 0,-21 1 8256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7.14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81 1 9527 0 0,'-3'1'835'0'0,"1"1"-1"0"0,-1 0 0 0 0,0 0 0 0 0,1 0 1 0 0,0 0-1 0 0,0 1 0 0 0,-3 2 0 0 0,-11 23 1397 0 0,9-11-2153 0 0,-7 28 0 0 0,11-36 365 0 0,-2 12-401 0 0,0 1 1 0 0,1 0-1 0 0,2 0 0 0 0,0 0 0 0 0,1 0 1 0 0,1 0-1 0 0,1 0 0 0 0,1 0 1 0 0,1 0-1 0 0,1 0 0 0 0,1-1 0 0 0,9 25 1 0 0,-11-40-76 0 0,-1-1 0 0 0,1 1 0 0 0,1-1 0 0 0,-1 0 0 0 0,1 0 1 0 0,0 0-1 0 0,0-1 0 0 0,0 1 0 0 0,0-1 0 0 0,1 0 1 0 0,5 3-1 0 0,-8-5-293 0 0,0-1-1 0 0,0 0 1 0 0,0 0 0 0 0,1 0 0 0 0,-1 0 0 0 0,0 0 0 0 0,1-1-1 0 0,-1 1 1 0 0,0-1 0 0 0,1 1 0 0 0,-1-1 0 0 0,6 0 0 0 0,-6 0-407 0 0,0 0 1 0 0,0-1 0 0 0,0 1 0 0 0,0-1 0 0 0,0 0 0 0 0,0 0 0 0 0,-1 0 0 0 0,1 0 0 0 0,0 0 0 0 0,0 0 0 0 0,-1 0 0 0 0,1 0 0 0 0,0-1 0 0 0,-1 1 0 0 0,1-1 0 0 0,-1 1 0 0 0,2-3 0 0 0,3-5-479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7.49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7 15087 0 0,'0'0'1164'0'0,"5"15"184"0"0,-3-7-1328 0 0,0 0 0 0 0,0 0 0 0 0,1 0 0 0 0,0 0 0 0 0,5 9 0 0 0,-5-11 21 0 0,1 0 1 0 0,-2 1-1 0 0,1 0 0 0 0,-1-1 1 0 0,0 1-1 0 0,0 0 1 0 0,1 14-1 0 0,-3-21-133 0 0,-8-17-515 0 0,5 10 619 0 0,1-1-1 0 0,-1 1 0 0 0,1 0 1 0 0,1-1-1 0 0,0 1 0 0 0,0-1 1 0 0,0 0-1 0 0,1 1 0 0 0,0-1 1 0 0,0 0-1 0 0,3-12 0 0 0,-3 19-40 0 0,1-1 0 0 0,0 1 0 0 0,-1 0 0 0 0,1-1 0 0 0,0 1 1 0 0,0 0-1 0 0,0-1 0 0 0,0 1 0 0 0,0 0 0 0 0,0 0 0 0 0,0 0 0 0 0,0 0 0 0 0,1 0 0 0 0,-1 0 0 0 0,0 0 0 0 0,1 1 0 0 0,-1-1 0 0 0,0 0 0 0 0,1 1 0 0 0,-1-1 0 0 0,1 1 0 0 0,1-1 0 0 0,17-2-4044 0 0,-2 3-6914 0 0,-11 0 9785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1:37.86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4 11255 0 0,'0'0'867'0'0,"19"0"2820"0"0,0 1-1977 0 0,5-1-3645 0 0,-10-1-9134 0 0,-5-3 7224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0.94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8 1 8431 0 0,'1'1'10261'0'0,"-1"1"-10638"0"0,-3 6 677 0 0,0 1-1 0 0,0-1 0 0 0,-1 0 1 0 0,0 0-1 0 0,-7 10 1 0 0,1-1-245 0 0,10-17-61 0 0,0 0-1 0 0,0 0 1 0 0,0 1-1 0 0,0-1 1 0 0,0 0 0 0 0,-1 0-1 0 0,1 0 1 0 0,0 0-1 0 0,0 0 1 0 0,0 0-1 0 0,0 1 1 0 0,0-1-1 0 0,0 0 1 0 0,0 0 0 0 0,0 0-1 0 0,0 0 1 0 0,0 0-1 0 0,0 1 1 0 0,0-1-1 0 0,0 0 1 0 0,0 0 0 0 0,0 0-1 0 0,0 0 1 0 0,0 0-1 0 0,0 0 1 0 0,0 1-1 0 0,1-1 1 0 0,-1 0-1 0 0,0 0 1 0 0,0 0 0 0 0,0 0-1 0 0,0 0 1 0 0,0 0-1 0 0,0 0 1 0 0,0 1-1 0 0,0-1 1 0 0,0 0 0 0 0,0 0-1 0 0,1 0 1 0 0,6 1-248 0 0,10-2-54 0 0,-16 0 303 0 0,88-13 309 0 0,-89 14-314 0 0,0 0-1 0 0,0 0 0 0 0,0 0 1 0 0,0 0-1 0 0,0 0 0 0 0,0 0 1 0 0,0 0-1 0 0,0 0 0 0 0,0 0 1 0 0,0 0-1 0 0,0 0 1 0 0,0 0-1 0 0,0 0 0 0 0,0 0 1 0 0,0 0-1 0 0,0 0 0 0 0,-1 0 1 0 0,1 0-1 0 0,0 0 1 0 0,0 0-1 0 0,0 0 0 0 0,0 0 1 0 0,0 0-1 0 0,0 0 0 0 0,0 0 1 0 0,0 0-1 0 0,0 0 0 0 0,0 0 1 0 0,0 0-1 0 0,0-1 1 0 0,0 1-1 0 0,0 0 0 0 0,0 0 1 0 0,0 0-1 0 0,0 0 0 0 0,0 0 1 0 0,0 0-1 0 0,0 0 0 0 0,0 0 1 0 0,0 0-1 0 0,0 0 1 0 0,0 0-1 0 0,0 0 0 0 0,0 0 1 0 0,0 0-1 0 0,0 0 0 0 0,0-1 1 0 0,0 1-1 0 0,0 0 0 0 0,0 0 1 0 0,0 0-1 0 0,0 0 1 0 0,0 0-1 0 0,0 0 0 0 0,0 0 1 0 0,0 0-1 0 0,0 0 0 0 0,0 0 1 0 0,0 0-1 0 0,1 0 1 0 0,-1 0-1 0 0,0 0 0 0 0,0 0 1 0 0,0 0-1 0 0,0 0 0 0 0,0 0 1 0 0,0 0-1 0 0,0 0 0 0 0,0 0 1 0 0,-8-5-289 0 0,-10-3 190 0 0,13 6 90 0 0,1 0-20 0 0,1 1-1 0 0,-1-1 0 0 0,0 1 0 0 0,1-1 1 0 0,-1 0-1 0 0,1 0 0 0 0,-1-1 0 0 0,1 1 1 0 0,0-1-1 0 0,0 0 0 0 0,-3-3 0 0 0,6 6-99 0 0,0 0-1 0 0,0 0 1 0 0,0-1 0 0 0,0 1-1 0 0,0 0 1 0 0,0 0 0 0 0,0 0-1 0 0,0-1 1 0 0,0 1 0 0 0,0 0-1 0 0,0 0 1 0 0,0 0-1 0 0,0-1 1 0 0,0 1 0 0 0,0 0-1 0 0,0 0 1 0 0,0-1 0 0 0,0 1-1 0 0,0 0 1 0 0,0 0-1 0 0,0 0 1 0 0,0-1 0 0 0,1 1-1 0 0,-1 0 1 0 0,0 0 0 0 0,0 0-1 0 0,0 0 1 0 0,0-1-1 0 0,1 1-417 0 0,-1 0 418 0 0,0 0-1 0 0,0-1 1 0 0,1 1-1 0 0,-1 0 1 0 0,15-6-12013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26.84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14599 0 0,'0'0'1552'0'0,"2"1"-1552"0"0,1 0-384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1.34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26 10879 0 0,'0'0'3086'0'0,"8"17"1323"0"0,-4-5-3707 0 0,-3-9-659 0 0,0 0 1 0 0,0 0-1 0 0,0 0 0 0 0,0 0 0 0 0,1-1 1 0 0,-1 1-1 0 0,1 0 0 0 0,0-1 0 0 0,-1 1 1 0 0,1-1-1 0 0,5 5 0 0 0,-7-7-83 0 0,0-1 0 0 0,0 1 0 0 0,1 0-1 0 0,-1 0 1 0 0,0-1 0 0 0,0 1 0 0 0,0 0 0 0 0,1-1-1 0 0,-1 1 1 0 0,0-1 0 0 0,0 1 0 0 0,0 0 0 0 0,0-1-1 0 0,0 1 1 0 0,0 0 0 0 0,0-1 0 0 0,0 1 0 0 0,0-1 0 0 0,0 1-1 0 0,0 0 1 0 0,0-1 0 0 0,0 1 0 0 0,0 0 0 0 0,0-1-1 0 0,0 1 1 0 0,0-1 0 0 0,-1 1 0 0 0,1 0 0 0 0,0-1-1 0 0,-4-15-145 0 0,-1 3 179 0 0,3 9 12 0 0,0 0 1 0 0,1 0-1 0 0,-1 0 0 0 0,1 0 1 0 0,0-1-1 0 0,0 1 1 0 0,0 0-1 0 0,0-8 1 0 0,1 11-1 0 0,1 1 0 0 0,-1 0 0 0 0,0-1 0 0 0,0 1 0 0 0,1-1 0 0 0,-1 1 0 0 0,0 0 0 0 0,0-1 1 0 0,1 1-1 0 0,-1 0 0 0 0,0 0 0 0 0,1-1 0 0 0,-1 1 0 0 0,0 0 0 0 0,1 0 0 0 0,-1-1 1 0 0,1 1-1 0 0,-1 0 0 0 0,1 0 0 0 0,-1 0 0 0 0,0 0 0 0 0,1-1 0 0 0,-1 1 0 0 0,1 0 0 0 0,-1 0 1 0 0,1 0-1 0 0,-1 0 0 0 0,0 0 0 0 0,1 0 0 0 0,-1 0 0 0 0,1 0 0 0 0,-1 1 0 0 0,1-1 1 0 0,-1 0-1 0 0,0 0 0 0 0,1 0 0 0 0,20 6-154 0 0,-17-4 94 0 0,7 1-287 0 0,16 6-1314 0 0,-12-2-6302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1.70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9 13415 0 0,'0'0'2971'0'0,"16"-2"-543"0"0,58-9-2025 0 0,26-6-1302 0 0,-92 15-57 0 0,19-4-2266 0 0,-18 6-1255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2.08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2 17 4287 0 0,'2'-2'12324'0'0,"9"-6"-11122"0"0,-8 6-1146 0 0,0 1 1 0 0,0 0 0 0 0,0 0 0 0 0,1 1 0 0 0,-1-1-1 0 0,0 1 1 0 0,1-1 0 0 0,5 1 0 0 0,-8 0-55 0 0,0 0 1 0 0,0 1 0 0 0,-1-1 0 0 0,1 0-1 0 0,0 0 1 0 0,-1 1 0 0 0,1-1 0 0 0,0 0-1 0 0,0 1 1 0 0,-1-1 0 0 0,1 0 0 0 0,-1 1-1 0 0,1-1 1 0 0,0 1 0 0 0,-1 0 0 0 0,1-1-1 0 0,-1 1 1 0 0,1-1 0 0 0,-1 1 0 0 0,1 0-1 0 0,-1-1 1 0 0,0 1 0 0 0,1 0 0 0 0,-1-1-1 0 0,0 1 1 0 0,0 0 0 0 0,1 0 0 0 0,-1-1-1 0 0,0 1 1 0 0,0 0 0 0 0,0 0 0 0 0,0-1-1 0 0,0 1 1 0 0,0 0 0 0 0,0 0 0 0 0,0-1-1 0 0,0 1 1 0 0,0 0 0 0 0,0 0 0 0 0,-1-1 0 0 0,1 3-1 0 0,-3 5-62 0 0,1-1 0 0 0,-1 1 0 0 0,-1 0 0 0 0,1-1 0 0 0,-1 1 0 0 0,0-1 0 0 0,-1 0 0 0 0,-9 11 0 0 0,6-8 430 0 0,0 1 0 0 0,-8 15 0 0 0,16-26-340 0 0,0 0 0 0 0,0 0 0 0 0,0 1 1 0 0,0-1-1 0 0,0 0 0 0 0,0 0 0 0 0,0 0 1 0 0,0 0-1 0 0,0 1 0 0 0,0-1 1 0 0,0 0-1 0 0,0 0 0 0 0,0 0 0 0 0,0 0 1 0 0,0 1-1 0 0,0-1 0 0 0,0 0 1 0 0,0 0-1 0 0,0 0 0 0 0,0 0 0 0 0,0 0 1 0 0,0 1-1 0 0,0-1 0 0 0,1 0 0 0 0,-1 0 1 0 0,0 0-1 0 0,0 0 0 0 0,0 0 1 0 0,0 1-1 0 0,0-1 0 0 0,0 0 0 0 0,0 0 1 0 0,1 0-1 0 0,-1 0 0 0 0,0 0 0 0 0,0 0 1 0 0,0 0-1 0 0,0 0 0 0 0,0 0 1 0 0,1 1-1 0 0,-1-1 0 0 0,0 0 0 0 0,12 2 286 0 0,17-4-766 0 0,-25 2 449 0 0,5-1 25 0 0,44-4-4454 0 0,-36 1-1118 0 0,0 0-3328 0 0,-13 3 8034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3.85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4 0 8319 0 0,'0'0'290'0'0,"-1"0"-1"0"0,1 1 0 0 0,-1-1 0 0 0,1 0 1 0 0,-1 0-1 0 0,1 1 0 0 0,-1-1 0 0 0,1 0 1 0 0,-1 1-1 0 0,1-1 0 0 0,-1 0 1 0 0,1 1-1 0 0,0-1 0 0 0,-1 1 0 0 0,1-1 1 0 0,0 1-1 0 0,-1-1 0 0 0,1 1 0 0 0,0-1 1 0 0,0 1-1 0 0,0-1 0 0 0,-1 1 0 0 0,1-1 1 0 0,0 1-1 0 0,0 0 0 0 0,-4 18 487 0 0,4-15-245 0 0,-20 64 837 0 0,20-68-1367 0 0,0 1 0 0 0,0-1 1 0 0,0 0-1 0 0,0 0 0 0 0,1 1 0 0 0,-1-1 0 0 0,0 0 0 0 0,0 0 0 0 0,0 1 0 0 0,1-1 0 0 0,-1 0 1 0 0,0 0-1 0 0,0 0 0 0 0,1 1 0 0 0,-1-1 0 0 0,0 0 0 0 0,1 0 0 0 0,-1 0 0 0 0,0 0 0 0 0,0 0 1 0 0,1 0-1 0 0,-1 1 0 0 0,0-1 0 0 0,1 0 0 0 0,-1 0 0 0 0,0 0 0 0 0,1 0 0 0 0,-1 0 0 0 0,1 0 1 0 0,12 1 22 0 0,-11-1-22 0 0,22 2-238 0 0,0 2-1 0 0,33 9 1 0 0,-82-28-419 0 0,20 11 616 0 0,-8-7-180 0 0,1-1 0 0 0,0 0 0 0 0,1-1 0 0 0,-15-20 0 0 0,26 33 212 0 0,0 0 0 0 0,0 0 0 0 0,0 0 0 0 0,0 0 1 0 0,0 0-1 0 0,0 0 0 0 0,0 0 0 0 0,0 0 0 0 0,0 0 1 0 0,0 0-1 0 0,0 0 0 0 0,0 0 0 0 0,0 0 0 0 0,0 0 1 0 0,0-1-1 0 0,0 1 0 0 0,0 0 0 0 0,0 0 1 0 0,0 0-1 0 0,0 0 0 0 0,0 0 0 0 0,0 0 0 0 0,0 0 1 0 0,0 0-1 0 0,0 0 0 0 0,0 0 0 0 0,0 0 0 0 0,0 0 1 0 0,0 0-1 0 0,0-1 0 0 0,0 1 0 0 0,0 0 0 0 0,0 0 1 0 0,0 0-1 0 0,0 0 0 0 0,0 0 0 0 0,0 0 0 0 0,0 0 1 0 0,0 0-1 0 0,0 0 0 0 0,0 0 0 0 0,0 0 0 0 0,0 0 1 0 0,0 0-1 0 0,1 0 0 0 0,-1 0 0 0 0,0 0 0 0 0,0 0 1 0 0,0 0-1 0 0,0 0 0 0 0,0 0 0 0 0,0-1 1 0 0,0 1-1 0 0,0 0 0 0 0,0 0 0 0 0,0 0 0 0 0,0 0 1 0 0,1 0-1 0 0,5 1-521 0 0,8 4-4713 0 0,-3 0-937 0 0,6-1 3154 0 0,-12-3 2742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4.23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1 11807 0 0,'0'0'908'0'0,"14"8"2347"0"0,-10-3-3029 0 0,0 0 0 0 0,-1 0 0 0 0,0 0 0 0 0,0 0 1 0 0,0 1-1 0 0,0-1 0 0 0,-1 1 0 0 0,0 0 0 0 0,2 8 0 0 0,-4-14-311 0 0,0-3-162 0 0,-1 0 122 0 0,0 0 1 0 0,1 0-1 0 0,-1 0 0 0 0,0 0 1 0 0,-1 0-1 0 0,1 0 1 0 0,-3-4-1 0 0,2 5 169 0 0,1 0-1 0 0,0-1 0 0 0,0 1 1 0 0,0 0-1 0 0,0 0 0 0 0,0 0 1 0 0,0 0-1 0 0,1-1 0 0 0,-1 1 1 0 0,1 0-1 0 0,-1-1 0 0 0,1 1 1 0 0,0-1-1 0 0,0 1 1 0 0,0 0-1 0 0,1-4 0 0 0,-1 6-42 0 0,1-1-1 0 0,-1 0 1 0 0,0 1-1 0 0,1-1 1 0 0,-1 1 0 0 0,1 0-1 0 0,-1-1 1 0 0,1 1-1 0 0,0-1 1 0 0,-1 1-1 0 0,1 0 1 0 0,-1-1-1 0 0,1 1 1 0 0,0 0-1 0 0,-1 0 1 0 0,1-1 0 0 0,-1 1-1 0 0,1 0 1 0 0,0 0-1 0 0,-1 0 1 0 0,1 0-1 0 0,0 0 1 0 0,0 0-1 0 0,-1 0 1 0 0,1 0 0 0 0,0 0-1 0 0,0 0 1 0 0,23 4-1205 0 0,-17-2 591 0 0,-5-2 296 0 0,19 4-4650 0 0,-2 5-4293 0 0,-16-6 8461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4.60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7 15319 0 0,'0'0'1644'0'0,"18"1"-152"0"0,164-17-2753 0 0,-177 16 901 0 0,17-2-4571 0 0,-9 5-5153 0 0,-11-1 8840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4.98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6 12 4287 0 0,'2'-1'9340'0'0,"1"-1"-6670"0"0,9-4-2377 0 0,-10 6-266 0 0,0-1 0 0 0,1 0 0 0 0,-1 1-1 0 0,1 0 1 0 0,-1-1 0 0 0,1 1 0 0 0,-1 0 0 0 0,0 0 0 0 0,1 0 0 0 0,-1 1 0 0 0,1-1 0 0 0,-1 0 0 0 0,1 1-1 0 0,3 1 1 0 0,-5-1-6 0 0,0-1-1 0 0,0 1 1 0 0,0 0-1 0 0,0-1 0 0 0,0 1 1 0 0,-1 0-1 0 0,1 0 1 0 0,0 0-1 0 0,0-1 0 0 0,-1 1 1 0 0,1 0-1 0 0,-1 0 1 0 0,1 0-1 0 0,0 0 0 0 0,-1 0 1 0 0,0 0-1 0 0,1 1 1 0 0,-1-1-1 0 0,0 0 0 0 0,1 0 1 0 0,-1 0-1 0 0,0 0 1 0 0,0 0-1 0 0,0 0 1 0 0,0 1-1 0 0,0-1 0 0 0,0 0 1 0 0,-1 0-1 0 0,1 0 1 0 0,0 0-1 0 0,0 0 0 0 0,-1 0 1 0 0,0 2-1 0 0,-2 5-5 0 0,-1 0 1 0 0,0 0-1 0 0,0 0 0 0 0,-1-1 0 0 0,0 1 0 0 0,-1-1 1 0 0,-11 12-1 0 0,8-9 243 0 0,1 0 1 0 0,-10 15 0 0 0,18-25-252 0 0,0 1 1 0 0,0-1 0 0 0,0 0 0 0 0,0 0-1 0 0,0 0 1 0 0,-1 0 0 0 0,1 1 0 0 0,0-1 0 0 0,0 0-1 0 0,0 0 1 0 0,0 0 0 0 0,0 0 0 0 0,0 1-1 0 0,0-1 1 0 0,0 0 0 0 0,0 0 0 0 0,0 0 0 0 0,0 1-1 0 0,0-1 1 0 0,0 0 0 0 0,0 0 0 0 0,0 0-1 0 0,0 1 1 0 0,0-1 0 0 0,1 0 0 0 0,-1 0 0 0 0,0 0-1 0 0,0 0 1 0 0,0 0 0 0 0,0 1 0 0 0,0-1-1 0 0,0 0 1 0 0,0 0 0 0 0,1 0 0 0 0,-1 0 0 0 0,0 0-1 0 0,0 1 1 0 0,0-1 0 0 0,1 0 0 0 0,9 3 462 0 0,13-3 155 0 0,-23 0-625 0 0,18-3-615 0 0,13 0-1694 0 0,-30 3 2149 0 0,1 0 0 0 0,0 0 0 0 0,0 0-1 0 0,-1 0 1 0 0,1 0 0 0 0,0 1 0 0 0,0-1 0 0 0,-1 1 0 0 0,1-1-1 0 0,0 1 1 0 0,-1 0 0 0 0,1-1 0 0 0,1 3 0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9.7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45 10479 0 0,'3'-3'3120'0'0,"-3"3"-2990"0"0,0 0 0 0 0,0 0 0 0 0,1 0 0 0 0,-1 0 0 0 0,0 0 0 0 0,0 0 0 0 0,0 0 0 0 0,0 0 0 0 0,0 0 1 0 0,1 0-1 0 0,-1 0 390 0 0,1 0-390 0 0,6 6 1462 0 0,5 11-1576 0 0,-12-16 347 0 0,5 6-313 0 0,-1 0 0 0 0,0 0 0 0 0,-1 0 0 0 0,0 1 0 0 0,0 0 0 0 0,0-1 0 0 0,-1 1 0 0 0,-1 0 0 0 0,3 15 0 0 0,-13-37 2 0 0,2 1-72 0 0,2 0 0 0 0,-6-20-1 0 0,10 30 32 0 0,0 0 0 0 0,1-1-1 0 0,-1 1 1 0 0,0 0-1 0 0,1-1 1 0 0,0 1-1 0 0,0-1 1 0 0,0 1-1 0 0,1-1 1 0 0,-1 1-1 0 0,1 0 1 0 0,-1-1 0 0 0,1 1-1 0 0,0 0 1 0 0,3-7-1 0 0,-3 8 0 0 0,1 1-1 0 0,-1-1 1 0 0,0 0-1 0 0,0 1 1 0 0,1 0-1 0 0,-1-1 1 0 0,1 1-1 0 0,0 0 1 0 0,-1-1-1 0 0,1 1 1 0 0,0 0-1 0 0,0 0 1 0 0,0 0-1 0 0,-1 1 1 0 0,1-1 0 0 0,0 0-1 0 0,0 1 1 0 0,0-1-1 0 0,0 1 1 0 0,0 0-1 0 0,0-1 1 0 0,0 1-1 0 0,3 0 1 0 0,1 1-784 0 0,0 0 0 0 0,1 0 0 0 0,-1 0 0 0 0,0 1 0 0 0,11 4 1 0 0,-12-5-1588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10.48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54 1 12239 0 0,'-5'8'5669'0'0,"-2"9"-4521"0"0,-11 21-1613 0 0,-6 6 465 0 0,27-44-52 0 0,0 0-1 0 0,0 0 1 0 0,0 0-1 0 0,-1 0 0 0 0,1-1 1 0 0,4 0-1 0 0,34-3 53 0 0,-34 4 0 0 0,0 0 0 0 0,0-1 0 0 0,-1 0 0 0 0,1 0 0 0 0,0 0 0 0 0,0-1 0 0 0,-1 0 0 0 0,11-4 0 0 0,-17 5-8 0 0,1 1-1 0 0,-1 0 1 0 0,1 0-1 0 0,-1-1 0 0 0,1 1 1 0 0,-1-1-1 0 0,0 1 1 0 0,1 0-1 0 0,-1-1 1 0 0,0 1-1 0 0,1-1 0 0 0,-1 1 1 0 0,0-1-1 0 0,1 1 1 0 0,-1-1-1 0 0,0 1 0 0 0,0-1 1 0 0,1 1-1 0 0,-1-1 1 0 0,0 1-1 0 0,0-1 1 0 0,0 1-1 0 0,0-1 0 0 0,0 0 1 0 0,0 1-1 0 0,0-2 1 0 0,0 1-28 0 0,-1-1 0 0 0,1 1 1 0 0,-1-1-1 0 0,0 0 0 0 0,1 1 1 0 0,-1 0-1 0 0,0-1 0 0 0,0 1 0 0 0,-1-3 1 0 0,-5-3-426 0 0,1 1-1 0 0,-13-11 1 0 0,16 14 131 0 0,-1 0-217 0 0,-12-10-538 0 0,15 13 1016 0 0,1-1 0 0 0,-1 1 0 0 0,0-1 0 0 0,0 1 0 0 0,0 0 0 0 0,1-1 0 0 0,-1 1 0 0 0,0 0 0 0 0,0 0 0 0 0,0-1 0 0 0,0 1 0 0 0,0 0 0 0 0,0 0 0 0 0,1 0 0 0 0,-1 0 0 0 0,0 0 0 0 0,0 0 0 0 0,-1 1 0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10.93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2 13327 0 0,'0'0'3442'0'0,"10"15"-1740"0"0,-1 2-1542 0 0,-2 1-1 0 0,9 26 1 0 0,-14-29-421 0 0,-3-8 30 0 0,1-7 216 0 0,0 0 1 0 0,0 0-1 0 0,0 1 1 0 0,0-1-1 0 0,0 0 1 0 0,0 0-1 0 0,0 0 1 0 0,0 0-1 0 0,-1 0 1 0 0,1 0-1 0 0,0 0 1 0 0,0 0-1 0 0,0 0 1 0 0,0 0-1 0 0,0 0 1 0 0,0 0-1 0 0,0 0 1 0 0,-1 0-1 0 0,1 0 1 0 0,0 0-1 0 0,0 0 1 0 0,0 0-1 0 0,0 0 1 0 0,0 0-1 0 0,0 0 1 0 0,0 0-1 0 0,-1 0 1 0 0,1 0-1 0 0,0 0 1 0 0,0 0-1 0 0,0 0 1 0 0,0 0-1 0 0,0 0 1 0 0,0 0-1 0 0,0 0 1 0 0,-1 0-1 0 0,1 0 1 0 0,0 0-1 0 0,0-1 1 0 0,0 1-1 0 0,0 0 1 0 0,0 0-1 0 0,0 0 1 0 0,0 0 0 0 0,0 0-1 0 0,0 0 1 0 0,-2-3-29 0 0,0 1 0 0 0,0-1 1 0 0,0 0-1 0 0,1 1 0 0 0,-1-1 1 0 0,1 0-1 0 0,0 0 0 0 0,0 0 1 0 0,0 0-1 0 0,0 0 0 0 0,0 0 1 0 0,1 0-1 0 0,-1-4 0 0 0,0 1 180 0 0,1 1-1 0 0,0-1 0 0 0,0 1 0 0 0,0-1 0 0 0,1 1 0 0 0,2-12 1 0 0,-2 15-82 0 0,-1 0 1 0 0,2 0-1 0 0,-1 1 0 0 0,0-1 1 0 0,0 0-1 0 0,1 0 1 0 0,-1 1-1 0 0,0-1 1 0 0,1 1-1 0 0,0-1 1 0 0,-1 1-1 0 0,1-1 1 0 0,0 1-1 0 0,0 0 1 0 0,0 0-1 0 0,0 0 1 0 0,0 0-1 0 0,0 0 1 0 0,0 1-1 0 0,0-1 0 0 0,0 0 1 0 0,4 0-1 0 0,23-1-936 0 0,-3 3-5107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0.07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5 382 9527 0 0,'1'1'278'0'0,"1"0"0"0"0,-1 1-1 0 0,0-1 1 0 0,0 0 0 0 0,-1 1 0 0 0,1-1-1 0 0,0 1 1 0 0,0 0 0 0 0,-1-1-1 0 0,1 1 1 0 0,-1 0 0 0 0,1-1 0 0 0,-1 4 1407 0 0,-11-21 219 0 0,8 12-1729 0 0,0-1 0 0 0,0 0-1 0 0,1 0 1 0 0,0 0 0 0 0,-1 0 0 0 0,-1-11-1 0 0,-7-37 303 0 0,8 33-343 0 0,-1 1-92 0 0,1 0 0 0 0,1 0 1 0 0,1 0-1 0 0,0 0 0 0 0,2 0 1 0 0,0-1-1 0 0,6-31 0 0 0,-3 35 182 0 0,6-24 75 0 0,-9 38-325 0 0,0 0 0 0 0,0 0 0 0 0,0 0 0 0 0,0 0 0 0 0,0 0 0 0 0,1 0 0 0 0,-1 1 0 0 0,1-1-1 0 0,-1 0 1 0 0,1 0 0 0 0,-1 1 0 0 0,1-1 0 0 0,0 1 0 0 0,3-2 0 0 0,-4 2 10 0 0,0 1 0 0 0,-1 0 1 0 0,1-1-1 0 0,-1 1 0 0 0,1 0 0 0 0,0 0 0 0 0,-1 0 0 0 0,1-1 0 0 0,0 1 0 0 0,-1 0 0 0 0,1 0 1 0 0,0 0-1 0 0,0 0 0 0 0,-1 0 0 0 0,1 0 0 0 0,0 0 0 0 0,-1 1 0 0 0,1-1 0 0 0,0 0 0 0 0,-1 0 1 0 0,1 0-1 0 0,0 1 0 0 0,-1-1 0 0 0,2 1 0 0 0,-1 0 12 0 0,0 0 1 0 0,0 0-1 0 0,-1 0 1 0 0,1 0-1 0 0,0 0 1 0 0,0 0-1 0 0,-1 0 1 0 0,1 0-1 0 0,-1 0 1 0 0,1 0-1 0 0,-1 0 0 0 0,1 3 1 0 0,0-2-26 0 0,0 1 1 0 0,-1-1 0 0 0,0 1-1 0 0,1 0 1 0 0,-1-1-1 0 0,0 1 1 0 0,0-1-1 0 0,0 1 1 0 0,-1-1 0 0 0,1 1-1 0 0,-1-1 1 0 0,1 1-1 0 0,-3 3 1 0 0,-6 7-210 0 0,0 0 1 0 0,-18 18 0 0 0,12-14 340 0 0,39-35-14096 0 0,1 2 11126 0 0,-16 12 2593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0.74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97 17 9471 0 0,'0'0'2518'0'0,"-16"-14"2092"0"0,14 14-4507 0 0,0-1-1 0 0,0 1 1 0 0,1-1-1 0 0,-1 1 0 0 0,0 0 1 0 0,0-1-1 0 0,0 1 1 0 0,0 0-1 0 0,0 0 1 0 0,0 1-1 0 0,1-1 1 0 0,-1 0-1 0 0,0 0 0 0 0,0 1 1 0 0,0 0-1 0 0,1-1 1 0 0,-1 1-1 0 0,0 0 1 0 0,-1 0-1 0 0,0 1-15 0 0,0 0 1 0 0,1 0-1 0 0,-1 1 1 0 0,1-1-1 0 0,-1 0 0 0 0,1 1 1 0 0,0-1-1 0 0,0 1 1 0 0,0 0-1 0 0,-2 4 0 0 0,2-3-70 0 0,0 0-1 0 0,0 0 1 0 0,0 0-1 0 0,1 1 1 0 0,-1-1-1 0 0,1 0 1 0 0,0 1-1 0 0,1 0 1 0 0,-1-1-1 0 0,1 1 1 0 0,0-1-1 0 0,0 1 1 0 0,0-1-1 0 0,1 1 1 0 0,-1 0-1 0 0,2 4 1 0 0,0-4-18 0 0,1 0 0 0 0,-1 0 1 0 0,1 0-1 0 0,0-1 0 0 0,0 1 0 0 0,0-1 1 0 0,0 0-1 0 0,1 0 0 0 0,0 0 1 0 0,0 0-1 0 0,8 5 0 0 0,-10-8-190 0 0,0 1-1 0 0,0-1 1 0 0,1 0 0 0 0,-1 0-1 0 0,0-1 1 0 0,1 1 0 0 0,-1 0-1 0 0,1-1 1 0 0,-1 1-1 0 0,0-1 1 0 0,6 0 0 0 0,-6 0-423 0 0,1 0 1 0 0,-1-1 0 0 0,1 1 0 0 0,-1-1 0 0 0,1 0-1 0 0,-1 0 1 0 0,0 0 0 0 0,1 0 0 0 0,-1 0-1 0 0,0 0 1 0 0,0-1 0 0 0,0 1 0 0 0,3-3-1 0 0,4-7-6479 0 0,-3 5 5810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2.53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98 4 5783 0 0,'0'0'444'0'0,"-16"-3"4663"0"0,-8 7-1807 0 0,18-2-3244 0 0,0 0 0 0 0,0 0-1 0 0,0 0 1 0 0,0 1-1 0 0,1 0 1 0 0,-11 7-1 0 0,16-10 49 0 0,-3 8 376 0 0,-1 2-322 0 0,14 51 126 0 0,-6-45-316 0 0,-2 1-1 0 0,2 31 0 0 0,-3-29-201 0 0,4 27-1 0 0,1 10 248 0 0,2 205 59 0 0,-8-257 14 0 0,0 1 0 0 0,0-1 0 0 0,1 0 0 0 0,-1 0 0 0 0,3 8 0 0 0,-2-11-72 0 0,-1 0 1 0 0,0 0-1 0 0,1-1 0 0 0,-1 1 1 0 0,0 0-1 0 0,1-1 1 0 0,-1 1-1 0 0,1 0 0 0 0,-1-1 1 0 0,1 1-1 0 0,0-1 1 0 0,-1 1-1 0 0,1-1 0 0 0,0 1 1 0 0,-1-1-1 0 0,1 1 0 0 0,0-1 1 0 0,0 0-1 0 0,-1 1 1 0 0,1-1-1 0 0,0 0 0 0 0,0 0 1 0 0,-1 1-1 0 0,1-1 1 0 0,0 0-1 0 0,0 0 0 0 0,0 0 1 0 0,-1 0-1 0 0,1 0 1 0 0,0 0-1 0 0,0 0 0 0 0,0-1 1 0 0,0 1-1 0 0,-1 0 0 0 0,1 0 1 0 0,1-1-1 0 0,4 0-202 0 0,1 0-1 0 0,-1 0 0 0 0,0 1 1 0 0,10 0-1 0 0,14-1-4081 0 0,-28 1 3146 0 0,1 0 1 0 0,-1-1-1 0 0,1 0 1 0 0,-1 1-1 0 0,1-1 1 0 0,-1 0-1 0 0,1 0 1 0 0,3-2-1 0 0,-1-1 545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2.90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5 11255 0 0,'0'0'867'0'0,"18"-1"2770"0"0,-8 1-3264 0 0,1 0 0 0 0,-1 0-1 0 0,18-3 1 0 0,11-6-4348 0 0,-36 8 2934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3.27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 1 5839 0 0,'-3'1'7454'0'0,"1"4"-5896"0"0,1 5-1459 0 0,11 90-210 0 0,-8-94-355 0 0,0 3-1309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03.66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9439 0 0,'6'17'1800'0'0,"6"29"-582"0"0,-2-6-2075 0 0,-5-13-3161 0 0,-5-14-1785 0 0,0-10 5015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07.54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 45 3767 0 0,'0'0'291'0'0,"0"0"-192"0"0,0-1 165 0 0,-1 0 247 0 0,1 1-1 0 0,0-1 1 0 0,0 0 0 0 0,0 1-1 0 0,0-1 1 0 0,0 0 0 0 0,0 0 0 0 0,0 1-1 0 0,0-1 1 0 0,0 0 0 0 0,0 1 0 0 0,0-1-1 0 0,1 0 1 0 0,-1 1 0 0 0,0-1 0 0 0,0 0-1 0 0,1 0 1 0 0,9-12 2044 0 0,-8 11-2445 0 0,0 0 0 0 0,0 0 0 0 0,0 0 0 0 0,0 1 0 0 0,1-1 0 0 0,-1 1 0 0 0,0 0 0 0 0,6-3 0 0 0,-7 4-80 0 0,-1 0 0 0 0,1 0 1 0 0,0 0-1 0 0,0-1 0 0 0,0 1 0 0 0,-1 0 0 0 0,1 0 0 0 0,0 0 0 0 0,0 0 1 0 0,0 0-1 0 0,-1 1 0 0 0,1-1 0 0 0,0 0 0 0 0,0 0 0 0 0,-1 0 0 0 0,1 1 0 0 0,0-1 1 0 0,0 0-1 0 0,-1 1 0 0 0,1-1 0 0 0,0 1 0 0 0,-1-1 0 0 0,1 1 0 0 0,0-1 1 0 0,-1 1-1 0 0,1 0 0 0 0,0 1-24 0 0,0-1 1 0 0,0 1 0 0 0,-1-1-1 0 0,1 1 1 0 0,-1-1 0 0 0,1 1-1 0 0,-1-1 1 0 0,0 1-1 0 0,0 0 1 0 0,0-1 0 0 0,0 1-1 0 0,0 2 1 0 0,-1 5-299 0 0,0 0 1 0 0,-1 0-1 0 0,-4 12 1 0 0,6-20 255 0 0,-6 16-484 0 0,-13 25 1 0 0,13-31 1128 0 0,0 1 0 0 0,1 0 0 0 0,0 1 0 0 0,-3 16 0 0 0,8-29-587 0 0,0 1 0 0 0,0-1 0 0 0,0 0 0 0 0,0 0 0 0 0,0 1 0 0 0,1-1 0 0 0,-1 0 0 0 0,0 0 0 0 0,0 1 0 0 0,0-1 0 0 0,0 0 0 0 0,0 0-1 0 0,1 1 1 0 0,-1-1 0 0 0,0 0 0 0 0,0 0 0 0 0,0 0 0 0 0,1 0 0 0 0,-1 1 0 0 0,0-1 0 0 0,0 0 0 0 0,1 0 0 0 0,-1 0 0 0 0,0 0 0 0 0,0 0 0 0 0,1 1 0 0 0,-1-1 0 0 0,0 0 0 0 0,0 0 0 0 0,1 0-1 0 0,-1 0 1 0 0,0 0 0 0 0,0 0 0 0 0,1 0 0 0 0,-1 0 0 0 0,0 0 0 0 0,1 0 0 0 0,-1 0 0 0 0,0 0 0 0 0,0-1 0 0 0,1 1 0 0 0,14-2 44 0 0,-12 2-62 0 0,20-4-297 0 0,0 2 0 0 0,44 0-1 0 0,-58 4-374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2.25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7 13071 0 0,'6'21'2731'0'0,"-5"-18"-2718"0"0,0 0 1 0 0,0 0-1 0 0,-1 0 0 0 0,0 0 1 0 0,1 0-1 0 0,-1 0 0 0 0,0 0 1 0 0,-1 4-1 0 0,2 19-176 0 0,-1-25 209 0 0,1 1-1 0 0,-1-1 1 0 0,0 1-1 0 0,0-1 1 0 0,0 0-1 0 0,0 1 1 0 0,0-1-1 0 0,0 1 1 0 0,-1-1-1 0 0,1 0 1 0 0,0 1-1 0 0,-1-1 1 0 0,1 0-1 0 0,-1 1 1 0 0,0 0-1 0 0,1-1-42 0 0,0-1-1 0 0,0 0 0 0 0,0 0 0 0 0,-1 0 1 0 0,1 0-1 0 0,0 0 0 0 0,0 0 1 0 0,0 0-1 0 0,0 0 0 0 0,0 0 1 0 0,0 0-1 0 0,0 0 0 0 0,-1 0 0 0 0,1 0 1 0 0,0 0-1 0 0,0 0 0 0 0,0 0 1 0 0,0 0-1 0 0,0 0 0 0 0,0 0 1 0 0,0 0-1 0 0,-1 0 0 0 0,1 0 0 0 0,0 0 1 0 0,0 0-1 0 0,0 0 0 0 0,0 0 1 0 0,0 0-1 0 0,0 0 0 0 0,0 0 1 0 0,-1 0-1 0 0,1 0 0 0 0,0-1 0 0 0,0 1 1 0 0,0 0-1 0 0,0 0 0 0 0,0 0 1 0 0,0 0-1 0 0,0 0 0 0 0,0 0 1 0 0,0 0-1 0 0,0 0 0 0 0,0 0 0 0 0,0-1 1 0 0,0 1-1 0 0,0 0 0 0 0,-1 0 1 0 0,1 0-1 0 0,0 0 0 0 0,0 0 1 0 0,0 0-1 0 0,0 0 0 0 0,0-1 0 0 0,0 1 1 0 0,0 0-1 0 0,0 0 0 0 0,0 0 1 0 0,0 0-1 0 0,1 0 0 0 0,-1 0 1 0 0,0 0-1 0 0,0-1 0 0 0,0 1 0 0 0,0 0 1 0 0,0 0-1 0 0,0 0 0 0 0,-1-9-343 0 0,1 9 319 0 0,0-5-45 0 0,0 0 0 0 0,1 0 0 0 0,0 0 0 0 0,-1 0 0 0 0,1 0-1 0 0,1 0 1 0 0,-1 1 0 0 0,1-1 0 0 0,0 0 0 0 0,0 1 0 0 0,0-1 0 0 0,0 1 0 0 0,6-7 0 0 0,-7 9 76 0 0,1 0 0 0 0,-1 1 0 0 0,1-1-1 0 0,-1 0 1 0 0,1 1 0 0 0,0-1 0 0 0,0 1 0 0 0,-1-1 0 0 0,1 1 0 0 0,0 0 0 0 0,0 0 0 0 0,0 0-1 0 0,1 0 1 0 0,-1 0 0 0 0,0 1 0 0 0,0-1 0 0 0,0 1 0 0 0,1-1 0 0 0,-1 1 0 0 0,0 0 0 0 0,0 0-1 0 0,1 0 1 0 0,-1 0 0 0 0,0 0 0 0 0,0 0 0 0 0,1 0 0 0 0,-1 1 0 0 0,0 0 0 0 0,0-1 0 0 0,0 1-1 0 0,4 2 1 0 0,-4-2-3 0 0,0 0 0 0 0,0 0 1 0 0,0 1-1 0 0,-1-1 0 0 0,1 1 0 0 0,-1 0 0 0 0,1-1 0 0 0,-1 1 0 0 0,1 0 0 0 0,-1 0 0 0 0,0 0 0 0 0,0 0 0 0 0,0 0 1 0 0,0 0-1 0 0,0 0 0 0 0,-1 0 0 0 0,1 0 0 0 0,-1 0 0 0 0,1 0 0 0 0,-1 1 0 0 0,0-1 0 0 0,0 0 0 0 0,0 0 1 0 0,0 0-1 0 0,0 1 0 0 0,0-1 0 0 0,-1 4 0 0 0,0-6-24 0 0,1 0 0 0 0,0 0 0 0 0,0 1-1 0 0,0-1 1 0 0,0 0 0 0 0,0 0 0 0 0,0 0 0 0 0,0 0 0 0 0,-1 0 0 0 0,1 0 0 0 0,0 0-1 0 0,0 0 1 0 0,0 0 0 0 0,0 0 0 0 0,0 0 0 0 0,0 0 0 0 0,-1 0 0 0 0,1 0-1 0 0,0 0 1 0 0,0 0 0 0 0,0 0 0 0 0,0 0 0 0 0,0 0 0 0 0,-1 0 0 0 0,1 0 0 0 0,0 0-1 0 0,0 0 1 0 0,0 0 0 0 0,0 0 0 0 0,0 0 0 0 0,0 0 0 0 0,0-1 0 0 0,-1 1 0 0 0,1 0-1 0 0,0 0 1 0 0,0 0 0 0 0,0 0 0 0 0,0 0 0 0 0,0 0 0 0 0,0 0 0 0 0,0 0 0 0 0,0-1-1 0 0,0 1 1 0 0,0 0 0 0 0,0 0 0 0 0,0 0 0 0 0,-1 0 0 0 0,1 0 0 0 0,0 0 0 0 0,0-1-1 0 0,0 1 1 0 0,0 0 0 0 0,0 0 0 0 0,0 0 0 0 0,0 0 0 0 0,0 0 0 0 0,0 0-1 0 0,0-1 1 0 0,-3-6-451 0 0,3 4 423 0 0,-1 0 0 0 0,1 0 0 0 0,0-1 1 0 0,0 1-1 0 0,0 0 0 0 0,0 0 0 0 0,1 0 0 0 0,-1 0 0 0 0,1 0 0 0 0,0 0 0 0 0,0 1 0 0 0,0-1 0 0 0,0 0 0 0 0,0 0 0 0 0,1 0 0 0 0,-1 1 0 0 0,1-1 0 0 0,0 1 0 0 0,-1-1 1 0 0,1 1-1 0 0,0 0 0 0 0,3-3 0 0 0,-3 4 68 0 0,0-1 0 0 0,0 0 0 0 0,0 1 0 0 0,0 0 0 0 0,0-1 0 0 0,0 1 0 0 0,0 0 0 0 0,0 0 0 0 0,1 0 0 0 0,-1 1 0 0 0,0-1 0 0 0,1 0 0 0 0,-1 1 0 0 0,0-1 0 0 0,1 1 0 0 0,-1 0 0 0 0,1 0 0 0 0,-1 0 1 0 0,0 0-1 0 0,1 1 0 0 0,-1-1 0 0 0,1 0 0 0 0,-1 1 0 0 0,0 0 0 0 0,1-1 0 0 0,-1 1 0 0 0,0 0 0 0 0,3 2 0 0 0,-3-1 49 0 0,0 0 0 0 0,1 0 1 0 0,-1 0-1 0 0,0 0 0 0 0,-1 1 0 0 0,1-1 1 0 0,0 0-1 0 0,-1 1 0 0 0,1 0 0 0 0,-1-1 1 0 0,0 1-1 0 0,0 0 0 0 0,0 0 0 0 0,1 3 1 0 0,-1-2 214 0 0,0 1 0 0 0,0 0 0 0 0,0 0 0 0 0,0 0 0 0 0,-1 0 0 0 0,0 0 0 0 0,-1 9 0 0 0,1-14-328 0 0,0 0-1 0 0,0 0 0 0 0,0 1 1 0 0,0-1-1 0 0,0 0 0 0 0,0 0 1 0 0,0 0-1 0 0,0 1 1 0 0,0-1-1 0 0,0 0 0 0 0,0 0 1 0 0,0 1-1 0 0,0-1 0 0 0,0 0 1 0 0,0 0-1 0 0,0 0 1 0 0,0 1-1 0 0,0-1 0 0 0,0 0 1 0 0,-1 0-1 0 0,1 0 0 0 0,0 0 1 0 0,0 1-1 0 0,0-1 1 0 0,0 0-1 0 0,0 0 0 0 0,-1 0 1 0 0,1 0-1 0 0,0 0 0 0 0,0 1 1 0 0,0-1-1 0 0,-1 0 1 0 0,1 0-1 0 0,0 0 0 0 0,0 0 1 0 0,0 0-1 0 0,-1 0 0 0 0,1 0 1 0 0,0 0-1 0 0,0 0 1 0 0,-1 0-1 0 0,1 0 0 0 0,0 0 1 0 0,0 0-1 0 0,-9-9-4542 0 0,-5-16-2616 0 0,8 9 4620 0 0,4 8 2118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2.64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11807 0 0,'0'0'908'0'0,"13"15"-1672"0"0,-13-14 312 0 0,1-1-1 0 0,-1 1 0 0 0,1 0 0 0 0,-1 0 1 0 0,0 0-1 0 0,1 0 0 0 0,-1-1 1 0 0,0 1-1 0 0,0 0 0 0 0,0 0 0 0 0,1 0 1 0 0,-1 0-1 0 0,0 0 0 0 0,0 0 1 0 0,0 0-1 0 0,-1 0 0 0 0,1 0 0 0 0,0 0 1 0 0,0 0-1 0 0,0-1 0 0 0,-1 1 1 0 0,1 0-1 0 0,-1 1 0 0 0,0 0-162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3.03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00 13271 0 0,'0'0'1026'0'0,"16"-4"-325"0"0,241-26 1555 0 0,-165 23-3470 0 0,140-29 0 0 0,-202 28 833 0 0,5-2-1760 0 0,-11 6-7716 0 0,-27 4 7873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3.4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10591 0 0,'0'0'819'0'0,"18"0"3174"0"0,61 1-1928 0 0,-25 0-4820 0 0,-44 0-496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0.46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75 26 11807 0 0,'0'-1'133'0'0,"0"0"0"0"0,0 1 0 0 0,0-1 0 0 0,1 0-1 0 0,-1 0 1 0 0,0 0 0 0 0,0 0 0 0 0,0 1 0 0 0,0-1-1 0 0,-1 0 1 0 0,1 0 0 0 0,0 0 0 0 0,0 1 0 0 0,0-1 0 0 0,-1 0-1 0 0,1 0 1 0 0,0 0 0 0 0,-1 1 0 0 0,1-1 0 0 0,0 0-1 0 0,-1 1 1 0 0,1-1 0 0 0,-1 0 0 0 0,0 1 0 0 0,1-1 0 0 0,-1 0-1 0 0,1 1 1 0 0,-1-1 0 0 0,0 1 0 0 0,1 0 0 0 0,-1-1-1 0 0,0 1 1 0 0,0-1 0 0 0,1 1 0 0 0,-1 0 0 0 0,0-1-1 0 0,0 1 1 0 0,0 0 0 0 0,1 0 0 0 0,-1 0 0 0 0,-1 0 0 0 0,0 0 7 0 0,0 0 1 0 0,0 0 0 0 0,0 0 0 0 0,0 0-1 0 0,0 1 1 0 0,1-1 0 0 0,-1 1 0 0 0,0-1-1 0 0,0 1 1 0 0,0 0 0 0 0,1 0 0 0 0,-1-1-1 0 0,0 1 1 0 0,1 1 0 0 0,-1-1 0 0 0,1 0-1 0 0,-3 2 1 0 0,2 0-82 0 0,-1 1 0 0 0,1 0-1 0 0,-1 0 1 0 0,1 0 0 0 0,0 0-1 0 0,1 1 1 0 0,-1-1 0 0 0,1 0-1 0 0,0 1 1 0 0,0-1 0 0 0,0 1-1 0 0,0-1 1 0 0,1 1 0 0 0,0 0-1 0 0,0-1 1 0 0,1 8 0 0 0,-1-6-119 0 0,1 1 0 0 0,0-1 0 0 0,1 0 0 0 0,-1 0 1 0 0,1 0-1 0 0,0 0 0 0 0,1 0 0 0 0,-1 0 1 0 0,1-1-1 0 0,0 1 0 0 0,7 7 0 0 0,-9-11-77 0 0,0 0-1 0 0,1-1 1 0 0,-1 0-1 0 0,1 1 1 0 0,0-1-1 0 0,-1 0 1 0 0,1 0-1 0 0,0 0 1 0 0,0 0-1 0 0,0 0 1 0 0,0 0-1 0 0,-1 0 1 0 0,1-1-1 0 0,0 1 1 0 0,1-1-1 0 0,-1 1 1 0 0,0-1-1 0 0,0 0 1 0 0,0 0-1 0 0,0 0 1 0 0,0 0-1 0 0,0 0 1 0 0,0 0-1 0 0,4-1 1 0 0,11-7-5167 0 0,-3-5-4293 0 0,-8 5 8311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5.25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1 12263 0 0,'0'0'944'0'0,"6"18"1714"0"0,-3-11-2547 0 0,1 0 1 0 0,-1 1 0 0 0,0-1 0 0 0,-1 1 0 0 0,0 0 0 0 0,0-1-1 0 0,0 9 1 0 0,-13-31 344 0 0,9 9-338 0 0,-1 1 0 0 0,1-1 0 0 0,1 0 0 0 0,-1 0 0 0 0,-1-11 0 0 0,3 16-100 0 0,0 0 1 0 0,0 0-1 0 0,0 0 0 0 0,0 0 0 0 0,1-1 0 0 0,-1 1 0 0 0,0 0 0 0 0,0 0 1 0 0,1 0-1 0 0,-1 0 0 0 0,1 0 0 0 0,-1 0 0 0 0,1 0 0 0 0,-1 0 1 0 0,1 0-1 0 0,-1 0 0 0 0,1 0 0 0 0,0 0 0 0 0,0 0 0 0 0,0 0 0 0 0,-1 0 1 0 0,1 1-1 0 0,0-1 0 0 0,0 0 0 0 0,0 1 0 0 0,0-1 0 0 0,0 1 1 0 0,0-1-1 0 0,0 1 0 0 0,0-1 0 0 0,1 1 0 0 0,-1 0 0 0 0,0-1 0 0 0,0 1 1 0 0,0 0-1 0 0,0 0 0 0 0,0 0 0 0 0,2 0 0 0 0,17-2-4265 0 0,19-1-8319 0 0,-33 2 11315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5.597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40 7 12239 0 0,'0'3'5276'0'0,"-1"11"-4473"0"0,-2-3-705 0 0,0-1 0 0 0,0 0 0 0 0,-1 0 1 0 0,0 0-1 0 0,-1 0 0 0 0,0-1 0 0 0,-7 9 0 0 0,18-19-84 0 0,-1 0 0 0 0,0 0 1 0 0,0 0-1 0 0,8 1 0 0 0,-13 0-13 0 0,27 0 79 0 0,16-1 163 0 0,-40 0-255 0 0,0 1-1 0 0,0-1 1 0 0,0 0 0 0 0,0 0-1 0 0,0 0 1 0 0,-1 0 0 0 0,1 0-1 0 0,0-1 1 0 0,0 1 0 0 0,-1-1-1 0 0,4-2 1 0 0,-6 4-8 0 0,1-1-1 0 0,-1 1 1 0 0,0 0 0 0 0,0 0-1 0 0,1-1 1 0 0,-1 1 0 0 0,0 0-1 0 0,0-1 1 0 0,1 1 0 0 0,-1 0-1 0 0,0-1 1 0 0,0 1 0 0 0,0 0-1 0 0,0-1 1 0 0,0 1 0 0 0,1 0-1 0 0,-1-1 1 0 0,0 1-1 0 0,0-1 1 0 0,0 1 0 0 0,0 0-1 0 0,0-1 1 0 0,0 1 0 0 0,0-1-1 0 0,0 1 1 0 0,-1 0 0 0 0,1-1-1 0 0,0 1 1 0 0,0 0 0 0 0,0-1-1 0 0,-10-10-264 0 0,-17-4-278 0 0,17 10 233 0 0,1 1-1 0 0,0-2 1 0 0,0 1-1 0 0,0-1 1 0 0,0-1-1 0 0,-10-10 1 0 0,18 14-2319 0 0,14 7-8893 0 0,-8-3 10686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6.00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46 7919 0 0,'3'1'8356'0'0,"3"5"-6602"0"0,3 7-1920 0 0,5 6 446 0 0,-11-15-313 0 0,0-1 0 0 0,0 1 0 0 0,-1 0 1 0 0,0 0-1 0 0,1 0 0 0 0,-1 0 0 0 0,-1 1 0 0 0,4 7 0 0 0,-5-12-141 0 0,-13-11-1540 0 0,-8-14 1366 0 0,20 23 457 0 0,0 1 1 0 0,0-1-1 0 0,0 0 1 0 0,0 1-1 0 0,0-1 1 0 0,1 0-1 0 0,-1 0 1 0 0,1 1-1 0 0,-1-1 1 0 0,1 0 0 0 0,0 0-1 0 0,-1 0 1 0 0,1 0-1 0 0,0 1 1 0 0,0-3-1 0 0,1 3-72 0 0,-1 0 0 0 0,0 0-1 0 0,1 1 1 0 0,-1-1 0 0 0,1 0 0 0 0,-1 1-1 0 0,1-1 1 0 0,-1 1 0 0 0,1-1 0 0 0,-1 1-1 0 0,1-1 1 0 0,0 1 0 0 0,-1-1 0 0 0,1 1-1 0 0,0-1 1 0 0,-1 1 0 0 0,1 0-1 0 0,0-1 1 0 0,0 1 0 0 0,-1 0 0 0 0,2-1-1 0 0,20-3-118 0 0,-14 3 106 0 0,20-6-1051 0 0,-23 5-1223 0 0,1 0 0 0 0,-1 0 0 0 0,1 0 0 0 0,-1-1 0 0 0,9-6-1 0 0,0-4-504 0 0,-9 7 2364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11.63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4 38 9759 0 0,'-9'-8'1866'0'0,"8"7"-1329"0"0,-1 1-1 0 0,1-1 0 0 0,0 0 0 0 0,0 0 0 0 0,0 0 0 0 0,0 0 0 0 0,0 0 0 0 0,0-1 0 0 0,-1 0 1 0 0,3-5 1181 0 0,9 1-1944 0 0,-6 5 220 0 0,-1 0 0 0 0,0 0-1 0 0,1 0 1 0 0,0 1-1 0 0,-1-1 1 0 0,1 1 0 0 0,-1 0-1 0 0,7 0 1 0 0,-9 0 0 0 0,0 0-1 0 0,-1 0 1 0 0,1 1-1 0 0,0-1 1 0 0,0 0 0 0 0,0 0-1 0 0,-1 0 1 0 0,1 1-1 0 0,0-1 1 0 0,0 0-1 0 0,0 1 1 0 0,-1-1 0 0 0,1 1-1 0 0,0-1 1 0 0,-1 1-1 0 0,1-1 1 0 0,-1 1 0 0 0,1-1-1 0 0,0 1 1 0 0,-1-1-1 0 0,1 1 1 0 0,-1 0-1 0 0,1-1 1 0 0,-1 1 0 0 0,0 0-1 0 0,1 0 1 0 0,-1-1-1 0 0,0 1 1 0 0,0 0 0 0 0,1 0-1 0 0,-1 0 1 0 0,0-1-1 0 0,0 1 1 0 0,0 0-1 0 0,0 0 1 0 0,0 0 0 0 0,0 0-1 0 0,0-1 1 0 0,0 1-1 0 0,0 0 1 0 0,-1 1 0 0 0,-2 9-91 0 0,-1 0 1 0 0,0 0-1 0 0,-1 0 1 0 0,0-1-1 0 0,-13 19 1 0 0,12-20 264 0 0,0 0 1 0 0,1 0-1 0 0,0 1 0 0 0,1-1 1 0 0,0 1-1 0 0,0 0 0 0 0,-2 15 1 0 0,5-25-150 0 0,1 0 0 0 0,0 0 0 0 0,0 1 0 0 0,0-1 0 0 0,0 0 0 0 0,0 0 0 0 0,0 0 0 0 0,0 0 0 0 0,0 0 0 0 0,0 1 0 0 0,1-1 0 0 0,-1 0 0 0 0,0 0 0 0 0,0 0 0 0 0,0 0 0 0 0,0 0 0 0 0,0 1 0 0 0,0-1 0 0 0,0 0-1 0 0,0 0 1 0 0,0 0 0 0 0,0 0 0 0 0,0 0 0 0 0,1 0 0 0 0,-1 1 0 0 0,0-1 0 0 0,0 0 0 0 0,0 0 0 0 0,0 0 0 0 0,0 0 0 0 0,0 0 0 0 0,1 0 0 0 0,-1 0 0 0 0,0 0 0 0 0,0 0 0 0 0,0 0 0 0 0,0 0 0 0 0,1 0 0 0 0,8 0 237 0 0,14-8-421 0 0,-19 6 120 0 0,-1 1-26 0 0,13-5-1478 0 0,28-6 0 0 0,-37 12-1036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12.17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3 1 10191 0 0,'0'0'784'0'0,"-2"17"3414"0"0,7 19-3993 0 0,-3-20-1109 0 0,1 25 0 0 0,-3-36-621 0 0,0 1 1 0 0,0-1-1 0 0,-1 1 1 0 0,-2 8-1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3:12.5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7919 0 0,'6'50'6184'0'0,"-2"-19"-7465"0"0,6 42-4402 0 0,-10-70 4666 0 0,0-2 761 0 0,0-1 0 0 0,0 0 0 0 0,1 1 0 0 0,-1-1-1 0 0,0 1 1 0 0,0-1 0 0 0,0 1 0 0 0,0-1 0 0 0,0 1 0 0 0,0-1 0 0 0,-1 1 0 0 0,1-1-1 0 0,0 1 1 0 0,0-1 0 0 0,0 0 0 0 0,0 1 0 0 0,0-1 0 0 0,-1 1 0 0 0,1 0-1 0 0,-2 0-279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1-07T22:22:30.88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5 9439 0 0,'0'0'728'0'0,"6"-1"3355"0"0,8-2-2868 0 0,7 3-846 0 0,-19 0-595 0 0,-1 0 0 0 0,0 0 0 0 0,0 0 0 0 0,1 0-1 0 0,-1 0 1 0 0,0 1 0 0 0,0-1 0 0 0,1 1 0 0 0,-1-1 0 0 0,0 1 0 0 0,0-1 0 0 0,0 1 0 0 0,2 1 0 0 0,-17 12-11980 0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20FE3-FD1E-4C36-3063-C4DF30649B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710633-FBE6-4D4F-0DBB-455676CCE5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DB3D1D-6C5D-06EE-5709-3632A3F35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DCB342-3EDB-834C-3762-55217A0A8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D203F-61CC-E99C-908B-7EEAC43E4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8497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A54C8-86E7-3157-EE0A-6BE1B1CC6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FF6C86-2415-7771-FE36-ED00CEF185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00C84D-68D7-09D3-95FF-0EE7D1E16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95952-5417-1D3B-65ED-93E2F3EC4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F53E0F-8E7F-C7AD-5BE6-EEC8B0631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7610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5595F9-5E2E-FDCB-1BA4-4E1C5A8C5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CD94F0-DC7C-4EBA-95AD-F2B5CA492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79F97C-0486-C8BB-128A-20B95D999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85458A-643F-DB16-815C-E02A2F113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62FE5-2143-5205-8C2F-8CB26862D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6505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8B145-EA98-A172-6235-A45A5D70F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6D564-8A8F-33C7-3607-8CF984394B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88F5D8-76E4-57D8-C15D-8D386289D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F8342-B324-B543-C2BA-4FCA9FE5E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90B0F-6CB0-DCB2-9E67-85B324204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6980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7820E-1532-C066-C40E-C299265CB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09CFC-713A-5AD0-A0D5-A9DFB3C816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4C10B-C156-A728-5D49-6EB7D1D88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C8574-361A-F176-C930-19AE6B8C5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B3FF1-2058-B008-296E-680E27C69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7517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A9B02-4828-5BD7-E7CC-F4D86CAED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199B2C-9BCF-85B4-1118-5A369CD600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38CBF8-6B8F-BFDC-303D-B511E91E64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F83D76-F4E3-F37D-78A6-1B804A81D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87E564-715A-CDAB-D186-D4BE50F2B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EB98B-4CE9-C4D1-DC48-D3650B8AB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02183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63A272-7C91-D198-F263-ADF225ABA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DB4FA-63FA-CB91-C8E5-07254026DE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3462B0-D9D4-4084-F0B9-98E08A824D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F88ACF-2B85-C3DA-A4CA-37F38CEBFF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7B4F9D-B7FC-9513-BE91-34469F97FC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5A93DF-91CE-A9B0-3535-27C9254BB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A184D6-CADC-87F8-E392-DBC9737CE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9E4479-5A4C-66E7-1860-502C106B2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93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95CC3-5902-8872-FC43-87186B14D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258090-B885-D610-03D1-24D1D2A44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181148-6D48-A553-911B-5745B1984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4E4499-42A7-A22D-DAA1-C6A3ADD6E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03344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9B60D1-EC7A-19D2-A624-93A52E34D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AEC1F4-6005-07F4-5A09-1467DFAFA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C2C71D-0488-1EF8-ED74-E55FB85B7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39232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561F7-9232-B57D-37F6-721EF4F2D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DC051D-B441-9F58-6B49-5CCC5A86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58B87A-A2AB-98C1-2791-3F77F0CD64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71FAD0-8AC1-FC88-AFC8-B444E275B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514FF7-B0FF-B775-B44F-F023D296C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3FC6CF-DB30-9D35-0C12-559F48550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13225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2E023-BA43-DA6F-6AD7-394395A99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4A0183-61F5-0225-999B-F72E96469A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2F198A-1294-59CE-C67E-1CD3F8A62D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03CCD6-CFBE-BD42-A716-A340328F78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7281AC-1EC0-EDDA-7447-BA402FD6A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D045BA-B58F-9BFD-360F-95DDFA4FF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460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FA7627-AC72-0E8A-7CE3-97CE4754B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2646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1" imgH="501" progId="TCLayout.ActiveDocument.1">
                  <p:embed/>
                </p:oleObj>
              </mc:Choice>
              <mc:Fallback>
                <p:oleObj name="think-cell Slide" r:id="rId14" imgW="501" imgH="50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A7627-AC72-0E8A-7CE3-97CE4754B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7E3EE0-BBD4-01A9-8B56-59176CDF5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366D0D-C3FA-072A-B355-259ECA44A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07177-9BDA-D415-D0D7-03DC491213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17B9F0-54C3-4533-BC47-CC5EFE9937D0}" type="datetimeFigureOut">
              <a:rPr lang="en-CA" smtClean="0"/>
              <a:t>2024-11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7B77A1-07F2-DB44-79CE-853F4FA20E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09443-8591-A83E-5F11-E0C599F678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1FDAB09-3BB2-461C-B481-3F4EB44DDDA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0201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60.xml"/><Relationship Id="rId21" Type="http://schemas.openxmlformats.org/officeDocument/2006/relationships/image" Target="../media/image11.png"/><Relationship Id="rId42" Type="http://schemas.openxmlformats.org/officeDocument/2006/relationships/image" Target="../media/image21.png"/><Relationship Id="rId63" Type="http://schemas.openxmlformats.org/officeDocument/2006/relationships/customXml" Target="../ink/ink32.xml"/><Relationship Id="rId84" Type="http://schemas.openxmlformats.org/officeDocument/2006/relationships/customXml" Target="../ink/ink43.xml"/><Relationship Id="rId138" Type="http://schemas.openxmlformats.org/officeDocument/2006/relationships/image" Target="../media/image68.png"/><Relationship Id="rId159" Type="http://schemas.openxmlformats.org/officeDocument/2006/relationships/customXml" Target="../ink/ink81.xml"/><Relationship Id="rId107" Type="http://schemas.openxmlformats.org/officeDocument/2006/relationships/image" Target="../media/image53.png"/><Relationship Id="rId11" Type="http://schemas.openxmlformats.org/officeDocument/2006/relationships/image" Target="../media/image6.png"/><Relationship Id="rId32" Type="http://schemas.openxmlformats.org/officeDocument/2006/relationships/image" Target="../media/image16.png"/><Relationship Id="rId53" Type="http://schemas.openxmlformats.org/officeDocument/2006/relationships/customXml" Target="../ink/ink27.xml"/><Relationship Id="rId74" Type="http://schemas.openxmlformats.org/officeDocument/2006/relationships/customXml" Target="../ink/ink38.xml"/><Relationship Id="rId128" Type="http://schemas.openxmlformats.org/officeDocument/2006/relationships/image" Target="../media/image63.png"/><Relationship Id="rId149" Type="http://schemas.openxmlformats.org/officeDocument/2006/relationships/customXml" Target="../ink/ink76.xml"/><Relationship Id="rId5" Type="http://schemas.openxmlformats.org/officeDocument/2006/relationships/image" Target="../media/image3.png"/><Relationship Id="rId95" Type="http://schemas.openxmlformats.org/officeDocument/2006/relationships/image" Target="../media/image47.png"/><Relationship Id="rId160" Type="http://schemas.openxmlformats.org/officeDocument/2006/relationships/image" Target="../media/image79.png"/><Relationship Id="rId22" Type="http://schemas.openxmlformats.org/officeDocument/2006/relationships/customXml" Target="../ink/ink11.xml"/><Relationship Id="rId43" Type="http://schemas.openxmlformats.org/officeDocument/2006/relationships/customXml" Target="../ink/ink22.xml"/><Relationship Id="rId64" Type="http://schemas.openxmlformats.org/officeDocument/2006/relationships/image" Target="../media/image32.png"/><Relationship Id="rId118" Type="http://schemas.openxmlformats.org/officeDocument/2006/relationships/image" Target="../media/image58.png"/><Relationship Id="rId139" Type="http://schemas.openxmlformats.org/officeDocument/2006/relationships/customXml" Target="../ink/ink71.xml"/><Relationship Id="rId85" Type="http://schemas.openxmlformats.org/officeDocument/2006/relationships/image" Target="../media/image42.png"/><Relationship Id="rId150" Type="http://schemas.openxmlformats.org/officeDocument/2006/relationships/image" Target="../media/image74.png"/><Relationship Id="rId12" Type="http://schemas.openxmlformats.org/officeDocument/2006/relationships/customXml" Target="../ink/ink6.xml"/><Relationship Id="rId17" Type="http://schemas.openxmlformats.org/officeDocument/2006/relationships/image" Target="../media/image9.png"/><Relationship Id="rId33" Type="http://schemas.openxmlformats.org/officeDocument/2006/relationships/customXml" Target="../ink/ink17.xml"/><Relationship Id="rId38" Type="http://schemas.openxmlformats.org/officeDocument/2006/relationships/image" Target="../media/image19.png"/><Relationship Id="rId59" Type="http://schemas.openxmlformats.org/officeDocument/2006/relationships/customXml" Target="../ink/ink30.xml"/><Relationship Id="rId103" Type="http://schemas.openxmlformats.org/officeDocument/2006/relationships/image" Target="../media/image51.png"/><Relationship Id="rId108" Type="http://schemas.openxmlformats.org/officeDocument/2006/relationships/customXml" Target="../ink/ink55.xml"/><Relationship Id="rId124" Type="http://schemas.openxmlformats.org/officeDocument/2006/relationships/image" Target="../media/image61.png"/><Relationship Id="rId129" Type="http://schemas.openxmlformats.org/officeDocument/2006/relationships/customXml" Target="../ink/ink66.xml"/><Relationship Id="rId54" Type="http://schemas.openxmlformats.org/officeDocument/2006/relationships/image" Target="../media/image27.png"/><Relationship Id="rId70" Type="http://schemas.openxmlformats.org/officeDocument/2006/relationships/customXml" Target="../ink/ink36.xml"/><Relationship Id="rId75" Type="http://schemas.openxmlformats.org/officeDocument/2006/relationships/image" Target="../media/image37.png"/><Relationship Id="rId91" Type="http://schemas.openxmlformats.org/officeDocument/2006/relationships/image" Target="../media/image45.png"/><Relationship Id="rId96" Type="http://schemas.openxmlformats.org/officeDocument/2006/relationships/customXml" Target="../ink/ink49.xml"/><Relationship Id="rId140" Type="http://schemas.openxmlformats.org/officeDocument/2006/relationships/image" Target="../media/image69.png"/><Relationship Id="rId145" Type="http://schemas.openxmlformats.org/officeDocument/2006/relationships/customXml" Target="../ink/ink74.xml"/><Relationship Id="rId161" Type="http://schemas.openxmlformats.org/officeDocument/2006/relationships/customXml" Target="../ink/ink82.xml"/><Relationship Id="rId166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3.xml"/><Relationship Id="rId23" Type="http://schemas.openxmlformats.org/officeDocument/2006/relationships/image" Target="../media/image12.png"/><Relationship Id="rId28" Type="http://schemas.openxmlformats.org/officeDocument/2006/relationships/customXml" Target="../ink/ink14.xml"/><Relationship Id="rId49" Type="http://schemas.openxmlformats.org/officeDocument/2006/relationships/customXml" Target="../ink/ink25.xml"/><Relationship Id="rId114" Type="http://schemas.openxmlformats.org/officeDocument/2006/relationships/customXml" Target="../ink/ink58.xml"/><Relationship Id="rId119" Type="http://schemas.openxmlformats.org/officeDocument/2006/relationships/customXml" Target="../ink/ink61.xml"/><Relationship Id="rId44" Type="http://schemas.openxmlformats.org/officeDocument/2006/relationships/image" Target="../media/image22.png"/><Relationship Id="rId60" Type="http://schemas.openxmlformats.org/officeDocument/2006/relationships/image" Target="../media/image30.png"/><Relationship Id="rId65" Type="http://schemas.openxmlformats.org/officeDocument/2006/relationships/customXml" Target="../ink/ink33.xml"/><Relationship Id="rId81" Type="http://schemas.openxmlformats.org/officeDocument/2006/relationships/image" Target="../media/image40.png"/><Relationship Id="rId86" Type="http://schemas.openxmlformats.org/officeDocument/2006/relationships/customXml" Target="../ink/ink44.xml"/><Relationship Id="rId130" Type="http://schemas.openxmlformats.org/officeDocument/2006/relationships/image" Target="../media/image64.png"/><Relationship Id="rId135" Type="http://schemas.openxmlformats.org/officeDocument/2006/relationships/customXml" Target="../ink/ink69.xml"/><Relationship Id="rId151" Type="http://schemas.openxmlformats.org/officeDocument/2006/relationships/customXml" Target="../ink/ink77.xml"/><Relationship Id="rId156" Type="http://schemas.openxmlformats.org/officeDocument/2006/relationships/image" Target="../media/image77.png"/><Relationship Id="rId13" Type="http://schemas.openxmlformats.org/officeDocument/2006/relationships/image" Target="../media/image7.png"/><Relationship Id="rId18" Type="http://schemas.openxmlformats.org/officeDocument/2006/relationships/customXml" Target="../ink/ink9.xml"/><Relationship Id="rId39" Type="http://schemas.openxmlformats.org/officeDocument/2006/relationships/customXml" Target="../ink/ink20.xml"/><Relationship Id="rId109" Type="http://schemas.openxmlformats.org/officeDocument/2006/relationships/image" Target="../media/image54.png"/><Relationship Id="rId34" Type="http://schemas.openxmlformats.org/officeDocument/2006/relationships/image" Target="../media/image17.png"/><Relationship Id="rId50" Type="http://schemas.openxmlformats.org/officeDocument/2006/relationships/image" Target="../media/image25.png"/><Relationship Id="rId55" Type="http://schemas.openxmlformats.org/officeDocument/2006/relationships/customXml" Target="../ink/ink28.xml"/><Relationship Id="rId76" Type="http://schemas.openxmlformats.org/officeDocument/2006/relationships/customXml" Target="../ink/ink39.xml"/><Relationship Id="rId97" Type="http://schemas.openxmlformats.org/officeDocument/2006/relationships/image" Target="../media/image48.png"/><Relationship Id="rId104" Type="http://schemas.openxmlformats.org/officeDocument/2006/relationships/customXml" Target="../ink/ink53.xml"/><Relationship Id="rId120" Type="http://schemas.openxmlformats.org/officeDocument/2006/relationships/image" Target="../media/image59.png"/><Relationship Id="rId125" Type="http://schemas.openxmlformats.org/officeDocument/2006/relationships/customXml" Target="../ink/ink64.xml"/><Relationship Id="rId141" Type="http://schemas.openxmlformats.org/officeDocument/2006/relationships/customXml" Target="../ink/ink72.xml"/><Relationship Id="rId146" Type="http://schemas.openxmlformats.org/officeDocument/2006/relationships/image" Target="../media/image72.png"/><Relationship Id="rId167" Type="http://schemas.openxmlformats.org/officeDocument/2006/relationships/customXml" Target="../ink/ink85.xml"/><Relationship Id="rId7" Type="http://schemas.openxmlformats.org/officeDocument/2006/relationships/image" Target="../media/image4.png"/><Relationship Id="rId71" Type="http://schemas.openxmlformats.org/officeDocument/2006/relationships/image" Target="../media/image35.png"/><Relationship Id="rId92" Type="http://schemas.openxmlformats.org/officeDocument/2006/relationships/customXml" Target="../ink/ink47.xml"/><Relationship Id="rId162" Type="http://schemas.openxmlformats.org/officeDocument/2006/relationships/image" Target="../media/image80.png"/><Relationship Id="rId2" Type="http://schemas.openxmlformats.org/officeDocument/2006/relationships/customXml" Target="../ink/ink1.xml"/><Relationship Id="rId29" Type="http://schemas.openxmlformats.org/officeDocument/2006/relationships/image" Target="../media/image15.png"/><Relationship Id="rId24" Type="http://schemas.openxmlformats.org/officeDocument/2006/relationships/customXml" Target="../ink/ink12.xml"/><Relationship Id="rId40" Type="http://schemas.openxmlformats.org/officeDocument/2006/relationships/image" Target="../media/image20.png"/><Relationship Id="rId45" Type="http://schemas.openxmlformats.org/officeDocument/2006/relationships/customXml" Target="../ink/ink23.xml"/><Relationship Id="rId66" Type="http://schemas.openxmlformats.org/officeDocument/2006/relationships/customXml" Target="../ink/ink34.xml"/><Relationship Id="rId87" Type="http://schemas.openxmlformats.org/officeDocument/2006/relationships/image" Target="../media/image43.png"/><Relationship Id="rId110" Type="http://schemas.openxmlformats.org/officeDocument/2006/relationships/customXml" Target="../ink/ink56.xml"/><Relationship Id="rId115" Type="http://schemas.openxmlformats.org/officeDocument/2006/relationships/customXml" Target="../ink/ink59.xml"/><Relationship Id="rId131" Type="http://schemas.openxmlformats.org/officeDocument/2006/relationships/customXml" Target="../ink/ink67.xml"/><Relationship Id="rId136" Type="http://schemas.openxmlformats.org/officeDocument/2006/relationships/image" Target="../media/image67.png"/><Relationship Id="rId157" Type="http://schemas.openxmlformats.org/officeDocument/2006/relationships/customXml" Target="../ink/ink80.xml"/><Relationship Id="rId61" Type="http://schemas.openxmlformats.org/officeDocument/2006/relationships/customXml" Target="../ink/ink31.xml"/><Relationship Id="rId82" Type="http://schemas.openxmlformats.org/officeDocument/2006/relationships/customXml" Target="../ink/ink42.xml"/><Relationship Id="rId152" Type="http://schemas.openxmlformats.org/officeDocument/2006/relationships/image" Target="../media/image75.png"/><Relationship Id="rId19" Type="http://schemas.openxmlformats.org/officeDocument/2006/relationships/image" Target="../media/image10.png"/><Relationship Id="rId14" Type="http://schemas.openxmlformats.org/officeDocument/2006/relationships/customXml" Target="../ink/ink7.xml"/><Relationship Id="rId30" Type="http://schemas.openxmlformats.org/officeDocument/2006/relationships/customXml" Target="../ink/ink15.xml"/><Relationship Id="rId35" Type="http://schemas.openxmlformats.org/officeDocument/2006/relationships/customXml" Target="../ink/ink18.xml"/><Relationship Id="rId56" Type="http://schemas.openxmlformats.org/officeDocument/2006/relationships/image" Target="../media/image28.png"/><Relationship Id="rId77" Type="http://schemas.openxmlformats.org/officeDocument/2006/relationships/image" Target="../media/image38.png"/><Relationship Id="rId100" Type="http://schemas.openxmlformats.org/officeDocument/2006/relationships/customXml" Target="../ink/ink51.xml"/><Relationship Id="rId105" Type="http://schemas.openxmlformats.org/officeDocument/2006/relationships/image" Target="../media/image52.png"/><Relationship Id="rId126" Type="http://schemas.openxmlformats.org/officeDocument/2006/relationships/image" Target="../media/image62.png"/><Relationship Id="rId147" Type="http://schemas.openxmlformats.org/officeDocument/2006/relationships/customXml" Target="../ink/ink75.xml"/><Relationship Id="rId168" Type="http://schemas.openxmlformats.org/officeDocument/2006/relationships/image" Target="../media/image83.png"/><Relationship Id="rId8" Type="http://schemas.openxmlformats.org/officeDocument/2006/relationships/customXml" Target="../ink/ink4.xml"/><Relationship Id="rId51" Type="http://schemas.openxmlformats.org/officeDocument/2006/relationships/customXml" Target="../ink/ink26.xml"/><Relationship Id="rId72" Type="http://schemas.openxmlformats.org/officeDocument/2006/relationships/customXml" Target="../ink/ink37.xml"/><Relationship Id="rId93" Type="http://schemas.openxmlformats.org/officeDocument/2006/relationships/image" Target="../media/image46.png"/><Relationship Id="rId98" Type="http://schemas.openxmlformats.org/officeDocument/2006/relationships/customXml" Target="../ink/ink50.xml"/><Relationship Id="rId121" Type="http://schemas.openxmlformats.org/officeDocument/2006/relationships/customXml" Target="../ink/ink62.xml"/><Relationship Id="rId142" Type="http://schemas.openxmlformats.org/officeDocument/2006/relationships/image" Target="../media/image70.png"/><Relationship Id="rId163" Type="http://schemas.openxmlformats.org/officeDocument/2006/relationships/customXml" Target="../ink/ink83.xml"/><Relationship Id="rId3" Type="http://schemas.openxmlformats.org/officeDocument/2006/relationships/image" Target="../media/image2.png"/><Relationship Id="rId25" Type="http://schemas.openxmlformats.org/officeDocument/2006/relationships/image" Target="../media/image13.png"/><Relationship Id="rId46" Type="http://schemas.openxmlformats.org/officeDocument/2006/relationships/image" Target="../media/image23.png"/><Relationship Id="rId67" Type="http://schemas.openxmlformats.org/officeDocument/2006/relationships/image" Target="../media/image33.png"/><Relationship Id="rId116" Type="http://schemas.openxmlformats.org/officeDocument/2006/relationships/image" Target="../media/image57.png"/><Relationship Id="rId137" Type="http://schemas.openxmlformats.org/officeDocument/2006/relationships/customXml" Target="../ink/ink70.xml"/><Relationship Id="rId158" Type="http://schemas.openxmlformats.org/officeDocument/2006/relationships/image" Target="../media/image78.png"/><Relationship Id="rId20" Type="http://schemas.openxmlformats.org/officeDocument/2006/relationships/customXml" Target="../ink/ink10.xml"/><Relationship Id="rId41" Type="http://schemas.openxmlformats.org/officeDocument/2006/relationships/customXml" Target="../ink/ink21.xml"/><Relationship Id="rId62" Type="http://schemas.openxmlformats.org/officeDocument/2006/relationships/image" Target="../media/image31.png"/><Relationship Id="rId83" Type="http://schemas.openxmlformats.org/officeDocument/2006/relationships/image" Target="../media/image41.png"/><Relationship Id="rId88" Type="http://schemas.openxmlformats.org/officeDocument/2006/relationships/customXml" Target="../ink/ink45.xml"/><Relationship Id="rId111" Type="http://schemas.openxmlformats.org/officeDocument/2006/relationships/image" Target="../media/image55.png"/><Relationship Id="rId132" Type="http://schemas.openxmlformats.org/officeDocument/2006/relationships/image" Target="../media/image65.png"/><Relationship Id="rId153" Type="http://schemas.openxmlformats.org/officeDocument/2006/relationships/customXml" Target="../ink/ink78.xml"/><Relationship Id="rId15" Type="http://schemas.openxmlformats.org/officeDocument/2006/relationships/image" Target="../media/image8.png"/><Relationship Id="rId36" Type="http://schemas.openxmlformats.org/officeDocument/2006/relationships/image" Target="../media/image18.png"/><Relationship Id="rId57" Type="http://schemas.openxmlformats.org/officeDocument/2006/relationships/customXml" Target="../ink/ink29.xml"/><Relationship Id="rId106" Type="http://schemas.openxmlformats.org/officeDocument/2006/relationships/customXml" Target="../ink/ink54.xml"/><Relationship Id="rId127" Type="http://schemas.openxmlformats.org/officeDocument/2006/relationships/customXml" Target="../ink/ink65.xml"/><Relationship Id="rId10" Type="http://schemas.openxmlformats.org/officeDocument/2006/relationships/customXml" Target="../ink/ink5.xml"/><Relationship Id="rId31" Type="http://schemas.openxmlformats.org/officeDocument/2006/relationships/customXml" Target="../ink/ink16.xml"/><Relationship Id="rId52" Type="http://schemas.openxmlformats.org/officeDocument/2006/relationships/image" Target="../media/image26.png"/><Relationship Id="rId73" Type="http://schemas.openxmlformats.org/officeDocument/2006/relationships/image" Target="../media/image36.png"/><Relationship Id="rId78" Type="http://schemas.openxmlformats.org/officeDocument/2006/relationships/customXml" Target="../ink/ink40.xml"/><Relationship Id="rId94" Type="http://schemas.openxmlformats.org/officeDocument/2006/relationships/customXml" Target="../ink/ink48.xml"/><Relationship Id="rId99" Type="http://schemas.openxmlformats.org/officeDocument/2006/relationships/image" Target="../media/image49.png"/><Relationship Id="rId101" Type="http://schemas.openxmlformats.org/officeDocument/2006/relationships/image" Target="../media/image50.png"/><Relationship Id="rId122" Type="http://schemas.openxmlformats.org/officeDocument/2006/relationships/image" Target="../media/image60.png"/><Relationship Id="rId143" Type="http://schemas.openxmlformats.org/officeDocument/2006/relationships/customXml" Target="../ink/ink73.xml"/><Relationship Id="rId148" Type="http://schemas.openxmlformats.org/officeDocument/2006/relationships/image" Target="../media/image73.png"/><Relationship Id="rId164" Type="http://schemas.openxmlformats.org/officeDocument/2006/relationships/image" Target="../media/image81.png"/><Relationship Id="rId4" Type="http://schemas.openxmlformats.org/officeDocument/2006/relationships/customXml" Target="../ink/ink2.xml"/><Relationship Id="rId9" Type="http://schemas.openxmlformats.org/officeDocument/2006/relationships/image" Target="../media/image5.png"/><Relationship Id="rId26" Type="http://schemas.openxmlformats.org/officeDocument/2006/relationships/customXml" Target="../ink/ink13.xml"/><Relationship Id="rId47" Type="http://schemas.openxmlformats.org/officeDocument/2006/relationships/customXml" Target="../ink/ink24.xml"/><Relationship Id="rId68" Type="http://schemas.openxmlformats.org/officeDocument/2006/relationships/customXml" Target="../ink/ink35.xml"/><Relationship Id="rId89" Type="http://schemas.openxmlformats.org/officeDocument/2006/relationships/image" Target="../media/image44.png"/><Relationship Id="rId112" Type="http://schemas.openxmlformats.org/officeDocument/2006/relationships/customXml" Target="../ink/ink57.xml"/><Relationship Id="rId133" Type="http://schemas.openxmlformats.org/officeDocument/2006/relationships/customXml" Target="../ink/ink68.xml"/><Relationship Id="rId154" Type="http://schemas.openxmlformats.org/officeDocument/2006/relationships/image" Target="../media/image76.png"/><Relationship Id="rId16" Type="http://schemas.openxmlformats.org/officeDocument/2006/relationships/customXml" Target="../ink/ink8.xml"/><Relationship Id="rId37" Type="http://schemas.openxmlformats.org/officeDocument/2006/relationships/customXml" Target="../ink/ink19.xml"/><Relationship Id="rId58" Type="http://schemas.openxmlformats.org/officeDocument/2006/relationships/image" Target="../media/image29.png"/><Relationship Id="rId79" Type="http://schemas.openxmlformats.org/officeDocument/2006/relationships/image" Target="../media/image39.png"/><Relationship Id="rId102" Type="http://schemas.openxmlformats.org/officeDocument/2006/relationships/customXml" Target="../ink/ink52.xml"/><Relationship Id="rId123" Type="http://schemas.openxmlformats.org/officeDocument/2006/relationships/customXml" Target="../ink/ink63.xml"/><Relationship Id="rId144" Type="http://schemas.openxmlformats.org/officeDocument/2006/relationships/image" Target="../media/image71.png"/><Relationship Id="rId90" Type="http://schemas.openxmlformats.org/officeDocument/2006/relationships/customXml" Target="../ink/ink46.xml"/><Relationship Id="rId165" Type="http://schemas.openxmlformats.org/officeDocument/2006/relationships/customXml" Target="../ink/ink84.xml"/><Relationship Id="rId27" Type="http://schemas.openxmlformats.org/officeDocument/2006/relationships/image" Target="../media/image14.png"/><Relationship Id="rId48" Type="http://schemas.openxmlformats.org/officeDocument/2006/relationships/image" Target="../media/image24.png"/><Relationship Id="rId69" Type="http://schemas.openxmlformats.org/officeDocument/2006/relationships/image" Target="../media/image34.png"/><Relationship Id="rId113" Type="http://schemas.openxmlformats.org/officeDocument/2006/relationships/image" Target="../media/image56.png"/><Relationship Id="rId134" Type="http://schemas.openxmlformats.org/officeDocument/2006/relationships/image" Target="../media/image66.png"/><Relationship Id="rId80" Type="http://schemas.openxmlformats.org/officeDocument/2006/relationships/customXml" Target="../ink/ink41.xml"/><Relationship Id="rId155" Type="http://schemas.openxmlformats.org/officeDocument/2006/relationships/customXml" Target="../ink/ink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1A5761-531A-1666-FD26-AB4B5F2786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75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1A5761-531A-1666-FD26-AB4B5F278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5661D88-AD8C-454F-5E4F-817B8E70A3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CA" dirty="0"/>
              <a:t>3D Flows Solver Docum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87374A-2A0E-1464-6F0E-C4B9B033CF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dirty="0"/>
              <a:t>MECH 535</a:t>
            </a:r>
          </a:p>
          <a:p>
            <a:r>
              <a:rPr lang="en-CA" dirty="0"/>
              <a:t>Slides are intended to complement commented code when necessary</a:t>
            </a:r>
          </a:p>
        </p:txBody>
      </p:sp>
    </p:spTree>
    <p:extLst>
      <p:ext uri="{BB962C8B-B14F-4D97-AF65-F5344CB8AC3E}">
        <p14:creationId xmlns:p14="http://schemas.microsoft.com/office/powerpoint/2010/main" val="1967445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FA2B36-3E0A-FC6C-E161-C50EC89E4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D3BEB48-87C5-B1A9-CA1D-A7704D68827A}"/>
              </a:ext>
            </a:extLst>
          </p:cNvPr>
          <p:cNvGrpSpPr/>
          <p:nvPr/>
        </p:nvGrpSpPr>
        <p:grpSpPr>
          <a:xfrm>
            <a:off x="5226003" y="4529252"/>
            <a:ext cx="32040" cy="29520"/>
            <a:chOff x="5226003" y="4529252"/>
            <a:chExt cx="32040" cy="29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">
              <p14:nvContentPartPr>
                <p14:cNvPr id="51" name="Ink 50">
                  <a:extLst>
                    <a:ext uri="{FF2B5EF4-FFF2-40B4-BE49-F238E27FC236}">
                      <a16:creationId xmlns:a16="http://schemas.microsoft.com/office/drawing/2014/main" id="{0E1B4489-1E21-3D16-416B-F90F7CCF2623}"/>
                    </a:ext>
                  </a:extLst>
                </p14:cNvPr>
                <p14:cNvContentPartPr/>
                <p14:nvPr/>
              </p14:nvContentPartPr>
              <p14:xfrm>
                <a:off x="5226003" y="4529252"/>
                <a:ext cx="21600" cy="2520"/>
              </p14:xfrm>
            </p:contentPart>
          </mc:Choice>
          <mc:Fallback>
            <p:pic>
              <p:nvPicPr>
                <p:cNvPr id="51" name="Ink 50">
                  <a:extLst>
                    <a:ext uri="{FF2B5EF4-FFF2-40B4-BE49-F238E27FC236}">
                      <a16:creationId xmlns:a16="http://schemas.microsoft.com/office/drawing/2014/main" id="{0E1B4489-1E21-3D16-416B-F90F7CCF2623}"/>
                    </a:ext>
                  </a:extLst>
                </p:cNvPr>
                <p:cNvPicPr/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217003" y="4520252"/>
                  <a:ext cx="39240" cy="20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">
              <p14:nvContentPartPr>
                <p14:cNvPr id="52" name="Ink 51">
                  <a:extLst>
                    <a:ext uri="{FF2B5EF4-FFF2-40B4-BE49-F238E27FC236}">
                      <a16:creationId xmlns:a16="http://schemas.microsoft.com/office/drawing/2014/main" id="{83E35E79-4E88-0473-E8AA-C253EF5B6949}"/>
                    </a:ext>
                  </a:extLst>
                </p14:cNvPr>
                <p14:cNvContentPartPr/>
                <p14:nvPr/>
              </p14:nvContentPartPr>
              <p14:xfrm>
                <a:off x="5228523" y="4555892"/>
                <a:ext cx="29520" cy="2880"/>
              </p14:xfrm>
            </p:contentPart>
          </mc:Choice>
          <mc:Fallback>
            <p:pic>
              <p:nvPicPr>
                <p:cNvPr id="52" name="Ink 51">
                  <a:extLst>
                    <a:ext uri="{FF2B5EF4-FFF2-40B4-BE49-F238E27FC236}">
                      <a16:creationId xmlns:a16="http://schemas.microsoft.com/office/drawing/2014/main" id="{83E35E79-4E88-0473-E8AA-C253EF5B6949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219523" y="4546892"/>
                  <a:ext cx="47160" cy="205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5" name="Ink 54">
                <a:extLst>
                  <a:ext uri="{FF2B5EF4-FFF2-40B4-BE49-F238E27FC236}">
                    <a16:creationId xmlns:a16="http://schemas.microsoft.com/office/drawing/2014/main" id="{09032088-F165-EE43-3D67-6383CB0934F4}"/>
                  </a:ext>
                </a:extLst>
              </p14:cNvPr>
              <p14:cNvContentPartPr/>
              <p14:nvPr/>
            </p14:nvContentPartPr>
            <p14:xfrm>
              <a:off x="5384763" y="4500812"/>
              <a:ext cx="41760" cy="150480"/>
            </p14:xfrm>
          </p:contentPart>
        </mc:Choice>
        <mc:Fallback>
          <p:pic>
            <p:nvPicPr>
              <p:cNvPr id="55" name="Ink 54">
                <a:extLst>
                  <a:ext uri="{FF2B5EF4-FFF2-40B4-BE49-F238E27FC236}">
                    <a16:creationId xmlns:a16="http://schemas.microsoft.com/office/drawing/2014/main" id="{09032088-F165-EE43-3D67-6383CB0934F4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375763" y="4492172"/>
                <a:ext cx="59400" cy="168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76" name="Ink 75">
                <a:extLst>
                  <a:ext uri="{FF2B5EF4-FFF2-40B4-BE49-F238E27FC236}">
                    <a16:creationId xmlns:a16="http://schemas.microsoft.com/office/drawing/2014/main" id="{1D21242F-042F-480C-C971-08B23A81A46F}"/>
                  </a:ext>
                </a:extLst>
              </p14:cNvPr>
              <p14:cNvContentPartPr/>
              <p14:nvPr/>
            </p14:nvContentPartPr>
            <p14:xfrm>
              <a:off x="6028443" y="4293452"/>
              <a:ext cx="53640" cy="227880"/>
            </p14:xfrm>
          </p:contentPart>
        </mc:Choice>
        <mc:Fallback>
          <p:pic>
            <p:nvPicPr>
              <p:cNvPr id="76" name="Ink 75">
                <a:extLst>
                  <a:ext uri="{FF2B5EF4-FFF2-40B4-BE49-F238E27FC236}">
                    <a16:creationId xmlns:a16="http://schemas.microsoft.com/office/drawing/2014/main" id="{1D21242F-042F-480C-C971-08B23A81A46F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019803" y="4284452"/>
                <a:ext cx="71280" cy="245520"/>
              </a:xfrm>
              <a:prstGeom prst="rect">
                <a:avLst/>
              </a:prstGeom>
            </p:spPr>
          </p:pic>
        </mc:Fallback>
      </mc:AlternateContent>
      <p:grpSp>
        <p:nvGrpSpPr>
          <p:cNvPr id="80" name="Group 79">
            <a:extLst>
              <a:ext uri="{FF2B5EF4-FFF2-40B4-BE49-F238E27FC236}">
                <a16:creationId xmlns:a16="http://schemas.microsoft.com/office/drawing/2014/main" id="{6781624D-DEAB-E2E3-565A-1147566915EE}"/>
              </a:ext>
            </a:extLst>
          </p:cNvPr>
          <p:cNvGrpSpPr/>
          <p:nvPr/>
        </p:nvGrpSpPr>
        <p:grpSpPr>
          <a:xfrm>
            <a:off x="5029443" y="4497932"/>
            <a:ext cx="74160" cy="97200"/>
            <a:chOff x="5029443" y="4497932"/>
            <a:chExt cx="74160" cy="97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">
              <p14:nvContentPartPr>
                <p14:cNvPr id="78" name="Ink 77">
                  <a:extLst>
                    <a:ext uri="{FF2B5EF4-FFF2-40B4-BE49-F238E27FC236}">
                      <a16:creationId xmlns:a16="http://schemas.microsoft.com/office/drawing/2014/main" id="{993FBBA1-4131-42C3-C043-E9932A7E622B}"/>
                    </a:ext>
                  </a:extLst>
                </p14:cNvPr>
                <p14:cNvContentPartPr/>
                <p14:nvPr/>
              </p14:nvContentPartPr>
              <p14:xfrm>
                <a:off x="5029443" y="4546892"/>
                <a:ext cx="74160" cy="48240"/>
              </p14:xfrm>
            </p:contentPart>
          </mc:Choice>
          <mc:Fallback>
            <p:pic>
              <p:nvPicPr>
                <p:cNvPr id="78" name="Ink 77">
                  <a:extLst>
                    <a:ext uri="{FF2B5EF4-FFF2-40B4-BE49-F238E27FC236}">
                      <a16:creationId xmlns:a16="http://schemas.microsoft.com/office/drawing/2014/main" id="{993FBBA1-4131-42C3-C043-E9932A7E622B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020803" y="4537892"/>
                  <a:ext cx="91800" cy="6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324D9354-7FC4-3AC0-A934-491CA677365F}"/>
                    </a:ext>
                  </a:extLst>
                </p14:cNvPr>
                <p14:cNvContentPartPr/>
                <p14:nvPr/>
              </p14:nvContentPartPr>
              <p14:xfrm>
                <a:off x="5066163" y="4497932"/>
                <a:ext cx="1800" cy="720"/>
              </p14:xfrm>
            </p:contentPart>
          </mc:Choice>
          <mc:Fallback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324D9354-7FC4-3AC0-A934-491CA677365F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057163" y="4488932"/>
                  <a:ext cx="19440" cy="183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E76583C-4AE5-10CA-E352-DCE899D0125E}"/>
              </a:ext>
            </a:extLst>
          </p:cNvPr>
          <p:cNvGrpSpPr/>
          <p:nvPr/>
        </p:nvGrpSpPr>
        <p:grpSpPr>
          <a:xfrm>
            <a:off x="5572400" y="4845449"/>
            <a:ext cx="211680" cy="159840"/>
            <a:chOff x="5572400" y="4845449"/>
            <a:chExt cx="211680" cy="159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">
              <p14:nvContentPartPr>
                <p14:cNvPr id="81" name="Ink 80">
                  <a:extLst>
                    <a:ext uri="{FF2B5EF4-FFF2-40B4-BE49-F238E27FC236}">
                      <a16:creationId xmlns:a16="http://schemas.microsoft.com/office/drawing/2014/main" id="{B33931D8-FF12-9DD8-705C-BF4E5C1D6969}"/>
                    </a:ext>
                  </a:extLst>
                </p14:cNvPr>
                <p14:cNvContentPartPr/>
                <p14:nvPr/>
              </p14:nvContentPartPr>
              <p14:xfrm>
                <a:off x="5572400" y="4858769"/>
                <a:ext cx="27720" cy="146520"/>
              </p14:xfrm>
            </p:contentPart>
          </mc:Choice>
          <mc:Fallback>
            <p:pic>
              <p:nvPicPr>
                <p:cNvPr id="81" name="Ink 80">
                  <a:extLst>
                    <a:ext uri="{FF2B5EF4-FFF2-40B4-BE49-F238E27FC236}">
                      <a16:creationId xmlns:a16="http://schemas.microsoft.com/office/drawing/2014/main" id="{B33931D8-FF12-9DD8-705C-BF4E5C1D6969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563400" y="4849769"/>
                  <a:ext cx="45360" cy="16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">
              <p14:nvContentPartPr>
                <p14:cNvPr id="82" name="Ink 81">
                  <a:extLst>
                    <a:ext uri="{FF2B5EF4-FFF2-40B4-BE49-F238E27FC236}">
                      <a16:creationId xmlns:a16="http://schemas.microsoft.com/office/drawing/2014/main" id="{B1780C76-AAE8-7173-24C4-AD7A69681373}"/>
                    </a:ext>
                  </a:extLst>
                </p14:cNvPr>
                <p14:cNvContentPartPr/>
                <p14:nvPr/>
              </p14:nvContentPartPr>
              <p14:xfrm>
                <a:off x="5631440" y="4845449"/>
                <a:ext cx="42840" cy="69120"/>
              </p14:xfrm>
            </p:contentPart>
          </mc:Choice>
          <mc:Fallback>
            <p:pic>
              <p:nvPicPr>
                <p:cNvPr id="82" name="Ink 81">
                  <a:extLst>
                    <a:ext uri="{FF2B5EF4-FFF2-40B4-BE49-F238E27FC236}">
                      <a16:creationId xmlns:a16="http://schemas.microsoft.com/office/drawing/2014/main" id="{B1780C76-AAE8-7173-24C4-AD7A69681373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622800" y="4836809"/>
                  <a:ext cx="60480" cy="8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">
              <p14:nvContentPartPr>
                <p14:cNvPr id="83" name="Ink 82">
                  <a:extLst>
                    <a:ext uri="{FF2B5EF4-FFF2-40B4-BE49-F238E27FC236}">
                      <a16:creationId xmlns:a16="http://schemas.microsoft.com/office/drawing/2014/main" id="{B8DEF441-E554-B312-A4C2-E63D775B5342}"/>
                    </a:ext>
                  </a:extLst>
                </p14:cNvPr>
                <p14:cNvContentPartPr/>
                <p14:nvPr/>
              </p14:nvContentPartPr>
              <p14:xfrm>
                <a:off x="5762120" y="4849409"/>
                <a:ext cx="21960" cy="7560"/>
              </p14:xfrm>
            </p:contentPart>
          </mc:Choice>
          <mc:Fallback>
            <p:pic>
              <p:nvPicPr>
                <p:cNvPr id="83" name="Ink 82">
                  <a:extLst>
                    <a:ext uri="{FF2B5EF4-FFF2-40B4-BE49-F238E27FC236}">
                      <a16:creationId xmlns:a16="http://schemas.microsoft.com/office/drawing/2014/main" id="{B8DEF441-E554-B312-A4C2-E63D775B5342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753480" y="4840769"/>
                  <a:ext cx="39600" cy="2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">
              <p14:nvContentPartPr>
                <p14:cNvPr id="84" name="Ink 83">
                  <a:extLst>
                    <a:ext uri="{FF2B5EF4-FFF2-40B4-BE49-F238E27FC236}">
                      <a16:creationId xmlns:a16="http://schemas.microsoft.com/office/drawing/2014/main" id="{EAFBB09E-F7B2-5E88-C4E3-3891AAD11D93}"/>
                    </a:ext>
                  </a:extLst>
                </p14:cNvPr>
                <p14:cNvContentPartPr/>
                <p14:nvPr/>
              </p14:nvContentPartPr>
              <p14:xfrm>
                <a:off x="5755640" y="4873169"/>
                <a:ext cx="27720" cy="1800"/>
              </p14:xfrm>
            </p:contentPart>
          </mc:Choice>
          <mc:Fallback>
            <p:pic>
              <p:nvPicPr>
                <p:cNvPr id="84" name="Ink 83">
                  <a:extLst>
                    <a:ext uri="{FF2B5EF4-FFF2-40B4-BE49-F238E27FC236}">
                      <a16:creationId xmlns:a16="http://schemas.microsoft.com/office/drawing/2014/main" id="{EAFBB09E-F7B2-5E88-C4E3-3891AAD11D93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5746640" y="4864169"/>
                  <a:ext cx="45360" cy="19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308EC627-A401-19D5-868D-BA1BEF925FAF}"/>
              </a:ext>
            </a:extLst>
          </p:cNvPr>
          <p:cNvGrpSpPr/>
          <p:nvPr/>
        </p:nvGrpSpPr>
        <p:grpSpPr>
          <a:xfrm>
            <a:off x="6479240" y="4712969"/>
            <a:ext cx="218880" cy="140400"/>
            <a:chOff x="6479240" y="4712969"/>
            <a:chExt cx="218880" cy="140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C2FB5155-C5AF-E998-BFA8-CC18EADB311E}"/>
                    </a:ext>
                  </a:extLst>
                </p14:cNvPr>
                <p14:cNvContentPartPr/>
                <p14:nvPr/>
              </p14:nvContentPartPr>
              <p14:xfrm>
                <a:off x="6479240" y="4712969"/>
                <a:ext cx="198360" cy="121680"/>
              </p14:xfrm>
            </p:contentPart>
          </mc:Choice>
          <mc:Fallback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C2FB5155-C5AF-E998-BFA8-CC18EADB311E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6470240" y="4703969"/>
                  <a:ext cx="216000" cy="13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">
              <p14:nvContentPartPr>
                <p14:cNvPr id="97" name="Ink 96">
                  <a:extLst>
                    <a:ext uri="{FF2B5EF4-FFF2-40B4-BE49-F238E27FC236}">
                      <a16:creationId xmlns:a16="http://schemas.microsoft.com/office/drawing/2014/main" id="{72580A32-A1C7-83B4-E440-560528F46B27}"/>
                    </a:ext>
                  </a:extLst>
                </p14:cNvPr>
                <p14:cNvContentPartPr/>
                <p14:nvPr/>
              </p14:nvContentPartPr>
              <p14:xfrm>
                <a:off x="6686240" y="4823489"/>
                <a:ext cx="11880" cy="29880"/>
              </p14:xfrm>
            </p:contentPart>
          </mc:Choice>
          <mc:Fallback>
            <p:pic>
              <p:nvPicPr>
                <p:cNvPr id="97" name="Ink 96">
                  <a:extLst>
                    <a:ext uri="{FF2B5EF4-FFF2-40B4-BE49-F238E27FC236}">
                      <a16:creationId xmlns:a16="http://schemas.microsoft.com/office/drawing/2014/main" id="{72580A32-A1C7-83B4-E440-560528F46B27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6677240" y="4814489"/>
                  <a:ext cx="29520" cy="47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818A9C6D-5F66-B07F-9C6D-41A4052C10AA}"/>
              </a:ext>
            </a:extLst>
          </p:cNvPr>
          <p:cNvGrpSpPr/>
          <p:nvPr/>
        </p:nvGrpSpPr>
        <p:grpSpPr>
          <a:xfrm>
            <a:off x="6807920" y="4602449"/>
            <a:ext cx="665397" cy="207360"/>
            <a:chOff x="6807920" y="4602449"/>
            <a:chExt cx="665397" cy="207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">
              <p14:nvContentPartPr>
                <p14:cNvPr id="98" name="Ink 97">
                  <a:extLst>
                    <a:ext uri="{FF2B5EF4-FFF2-40B4-BE49-F238E27FC236}">
                      <a16:creationId xmlns:a16="http://schemas.microsoft.com/office/drawing/2014/main" id="{DF7668DC-546D-8DD0-A196-3218FA48D2CE}"/>
                    </a:ext>
                  </a:extLst>
                </p14:cNvPr>
                <p14:cNvContentPartPr/>
                <p14:nvPr/>
              </p14:nvContentPartPr>
              <p14:xfrm>
                <a:off x="6807920" y="4712249"/>
                <a:ext cx="65520" cy="57960"/>
              </p14:xfrm>
            </p:contentPart>
          </mc:Choice>
          <mc:Fallback>
            <p:pic>
              <p:nvPicPr>
                <p:cNvPr id="98" name="Ink 97">
                  <a:extLst>
                    <a:ext uri="{FF2B5EF4-FFF2-40B4-BE49-F238E27FC236}">
                      <a16:creationId xmlns:a16="http://schemas.microsoft.com/office/drawing/2014/main" id="{DF7668DC-546D-8DD0-A196-3218FA48D2CE}"/>
                    </a:ext>
                  </a:extLst>
                </p:cNvPr>
                <p:cNvPicPr/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6798920" y="4703609"/>
                  <a:ext cx="83160" cy="7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">
              <p14:nvContentPartPr>
                <p14:cNvPr id="99" name="Ink 98">
                  <a:extLst>
                    <a:ext uri="{FF2B5EF4-FFF2-40B4-BE49-F238E27FC236}">
                      <a16:creationId xmlns:a16="http://schemas.microsoft.com/office/drawing/2014/main" id="{A34DBAB2-1CCB-B9BA-639A-FAD5A76BE71C}"/>
                    </a:ext>
                  </a:extLst>
                </p14:cNvPr>
                <p14:cNvContentPartPr/>
                <p14:nvPr/>
              </p14:nvContentPartPr>
              <p14:xfrm>
                <a:off x="6894680" y="4718009"/>
                <a:ext cx="52920" cy="37800"/>
              </p14:xfrm>
            </p:contentPart>
          </mc:Choice>
          <mc:Fallback>
            <p:pic>
              <p:nvPicPr>
                <p:cNvPr id="99" name="Ink 98">
                  <a:extLst>
                    <a:ext uri="{FF2B5EF4-FFF2-40B4-BE49-F238E27FC236}">
                      <a16:creationId xmlns:a16="http://schemas.microsoft.com/office/drawing/2014/main" id="{A34DBAB2-1CCB-B9BA-639A-FAD5A76BE71C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6886040" y="4709009"/>
                  <a:ext cx="70560" cy="5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">
              <p14:nvContentPartPr>
                <p14:cNvPr id="100" name="Ink 99">
                  <a:extLst>
                    <a:ext uri="{FF2B5EF4-FFF2-40B4-BE49-F238E27FC236}">
                      <a16:creationId xmlns:a16="http://schemas.microsoft.com/office/drawing/2014/main" id="{293F4FBB-417F-1B2C-B186-0F0D6565EEDB}"/>
                    </a:ext>
                  </a:extLst>
                </p14:cNvPr>
                <p14:cNvContentPartPr/>
                <p14:nvPr/>
              </p14:nvContentPartPr>
              <p14:xfrm>
                <a:off x="6980720" y="4723409"/>
                <a:ext cx="24480" cy="8640"/>
              </p14:xfrm>
            </p:contentPart>
          </mc:Choice>
          <mc:Fallback>
            <p:pic>
              <p:nvPicPr>
                <p:cNvPr id="100" name="Ink 99">
                  <a:extLst>
                    <a:ext uri="{FF2B5EF4-FFF2-40B4-BE49-F238E27FC236}">
                      <a16:creationId xmlns:a16="http://schemas.microsoft.com/office/drawing/2014/main" id="{293F4FBB-417F-1B2C-B186-0F0D6565EED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6972080" y="4714769"/>
                  <a:ext cx="42120" cy="26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01" name="Ink 100">
                  <a:extLst>
                    <a:ext uri="{FF2B5EF4-FFF2-40B4-BE49-F238E27FC236}">
                      <a16:creationId xmlns:a16="http://schemas.microsoft.com/office/drawing/2014/main" id="{0E37E8D0-5872-9F8F-8B13-B0008F25A200}"/>
                    </a:ext>
                  </a:extLst>
                </p14:cNvPr>
                <p14:cNvContentPartPr/>
                <p14:nvPr/>
              </p14:nvContentPartPr>
              <p14:xfrm>
                <a:off x="6982160" y="4747169"/>
                <a:ext cx="20520" cy="1440"/>
              </p14:xfrm>
            </p:contentPart>
          </mc:Choice>
          <mc:Fallback>
            <p:pic>
              <p:nvPicPr>
                <p:cNvPr id="101" name="Ink 100">
                  <a:extLst>
                    <a:ext uri="{FF2B5EF4-FFF2-40B4-BE49-F238E27FC236}">
                      <a16:creationId xmlns:a16="http://schemas.microsoft.com/office/drawing/2014/main" id="{0E37E8D0-5872-9F8F-8B13-B0008F25A200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6973160" y="4738169"/>
                  <a:ext cx="38160" cy="1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DD26B155-D798-6527-033B-C0F189633E1C}"/>
                    </a:ext>
                  </a:extLst>
                </p14:cNvPr>
                <p14:cNvContentPartPr/>
                <p14:nvPr/>
              </p14:nvContentPartPr>
              <p14:xfrm>
                <a:off x="7069397" y="4602449"/>
                <a:ext cx="41400" cy="67680"/>
              </p14:xfrm>
            </p:contentPart>
          </mc:Choice>
          <mc:Fallback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DD26B155-D798-6527-033B-C0F189633E1C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7060757" y="4593809"/>
                  <a:ext cx="59040" cy="8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5">
              <p14:nvContentPartPr>
                <p14:cNvPr id="109" name="Ink 108">
                  <a:extLst>
                    <a:ext uri="{FF2B5EF4-FFF2-40B4-BE49-F238E27FC236}">
                      <a16:creationId xmlns:a16="http://schemas.microsoft.com/office/drawing/2014/main" id="{66A7E189-7F4C-6917-5AC0-9C713418C958}"/>
                    </a:ext>
                  </a:extLst>
                </p14:cNvPr>
                <p14:cNvContentPartPr/>
                <p14:nvPr/>
              </p14:nvContentPartPr>
              <p14:xfrm>
                <a:off x="7138157" y="4630529"/>
                <a:ext cx="12600" cy="69120"/>
              </p14:xfrm>
            </p:contentPart>
          </mc:Choice>
          <mc:Fallback>
            <p:pic>
              <p:nvPicPr>
                <p:cNvPr id="109" name="Ink 108">
                  <a:extLst>
                    <a:ext uri="{FF2B5EF4-FFF2-40B4-BE49-F238E27FC236}">
                      <a16:creationId xmlns:a16="http://schemas.microsoft.com/office/drawing/2014/main" id="{66A7E189-7F4C-6917-5AC0-9C713418C958}"/>
                    </a:ext>
                  </a:extLst>
                </p:cNvPr>
                <p:cNvPicPr/>
                <p:nvPr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7129157" y="4621889"/>
                  <a:ext cx="30240" cy="8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110" name="Ink 109">
                  <a:extLst>
                    <a:ext uri="{FF2B5EF4-FFF2-40B4-BE49-F238E27FC236}">
                      <a16:creationId xmlns:a16="http://schemas.microsoft.com/office/drawing/2014/main" id="{27BA0F68-E1D4-0342-745B-5C393C97B129}"/>
                    </a:ext>
                  </a:extLst>
                </p14:cNvPr>
                <p14:cNvContentPartPr/>
                <p14:nvPr/>
              </p14:nvContentPartPr>
              <p14:xfrm>
                <a:off x="7133477" y="4659689"/>
                <a:ext cx="43200" cy="31320"/>
              </p14:xfrm>
            </p:contentPart>
          </mc:Choice>
          <mc:Fallback>
            <p:pic>
              <p:nvPicPr>
                <p:cNvPr id="110" name="Ink 109">
                  <a:extLst>
                    <a:ext uri="{FF2B5EF4-FFF2-40B4-BE49-F238E27FC236}">
                      <a16:creationId xmlns:a16="http://schemas.microsoft.com/office/drawing/2014/main" id="{27BA0F68-E1D4-0342-745B-5C393C97B129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7124837" y="4651049"/>
                  <a:ext cx="60840" cy="4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111" name="Ink 110">
                  <a:extLst>
                    <a:ext uri="{FF2B5EF4-FFF2-40B4-BE49-F238E27FC236}">
                      <a16:creationId xmlns:a16="http://schemas.microsoft.com/office/drawing/2014/main" id="{4B0445D8-4CFB-6B8A-52D9-DE3F33C99DDB}"/>
                    </a:ext>
                  </a:extLst>
                </p14:cNvPr>
                <p14:cNvContentPartPr/>
                <p14:nvPr/>
              </p14:nvContentPartPr>
              <p14:xfrm>
                <a:off x="7185677" y="4661489"/>
                <a:ext cx="23040" cy="60120"/>
              </p14:xfrm>
            </p:contentPart>
          </mc:Choice>
          <mc:Fallback>
            <p:pic>
              <p:nvPicPr>
                <p:cNvPr id="111" name="Ink 110">
                  <a:extLst>
                    <a:ext uri="{FF2B5EF4-FFF2-40B4-BE49-F238E27FC236}">
                      <a16:creationId xmlns:a16="http://schemas.microsoft.com/office/drawing/2014/main" id="{4B0445D8-4CFB-6B8A-52D9-DE3F33C99DDB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7176677" y="4652489"/>
                  <a:ext cx="40680" cy="7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112" name="Ink 111">
                  <a:extLst>
                    <a:ext uri="{FF2B5EF4-FFF2-40B4-BE49-F238E27FC236}">
                      <a16:creationId xmlns:a16="http://schemas.microsoft.com/office/drawing/2014/main" id="{B1A16508-F3AE-6995-55EB-DF3EB1E1AF2F}"/>
                    </a:ext>
                  </a:extLst>
                </p14:cNvPr>
                <p14:cNvContentPartPr/>
                <p14:nvPr/>
              </p14:nvContentPartPr>
              <p14:xfrm>
                <a:off x="7245077" y="4648169"/>
                <a:ext cx="37800" cy="2160"/>
              </p14:xfrm>
            </p:contentPart>
          </mc:Choice>
          <mc:Fallback>
            <p:pic>
              <p:nvPicPr>
                <p:cNvPr id="112" name="Ink 111">
                  <a:extLst>
                    <a:ext uri="{FF2B5EF4-FFF2-40B4-BE49-F238E27FC236}">
                      <a16:creationId xmlns:a16="http://schemas.microsoft.com/office/drawing/2014/main" id="{B1A16508-F3AE-6995-55EB-DF3EB1E1AF2F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7236437" y="4639169"/>
                  <a:ext cx="55440" cy="1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113" name="Ink 112">
                  <a:extLst>
                    <a:ext uri="{FF2B5EF4-FFF2-40B4-BE49-F238E27FC236}">
                      <a16:creationId xmlns:a16="http://schemas.microsoft.com/office/drawing/2014/main" id="{147F8953-5CA1-BEAA-E996-981F34CF8221}"/>
                    </a:ext>
                  </a:extLst>
                </p14:cNvPr>
                <p14:cNvContentPartPr/>
                <p14:nvPr/>
              </p14:nvContentPartPr>
              <p14:xfrm>
                <a:off x="7313837" y="4609649"/>
                <a:ext cx="35280" cy="46800"/>
              </p14:xfrm>
            </p:contentPart>
          </mc:Choice>
          <mc:Fallback>
            <p:pic>
              <p:nvPicPr>
                <p:cNvPr id="113" name="Ink 112">
                  <a:extLst>
                    <a:ext uri="{FF2B5EF4-FFF2-40B4-BE49-F238E27FC236}">
                      <a16:creationId xmlns:a16="http://schemas.microsoft.com/office/drawing/2014/main" id="{147F8953-5CA1-BEAA-E996-981F34CF8221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7304837" y="4601009"/>
                  <a:ext cx="52920" cy="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114" name="Ink 113">
                  <a:extLst>
                    <a:ext uri="{FF2B5EF4-FFF2-40B4-BE49-F238E27FC236}">
                      <a16:creationId xmlns:a16="http://schemas.microsoft.com/office/drawing/2014/main" id="{9F33C9C7-C56E-51EB-995D-0E6E937E07CA}"/>
                    </a:ext>
                  </a:extLst>
                </p14:cNvPr>
                <p14:cNvContentPartPr/>
                <p14:nvPr/>
              </p14:nvContentPartPr>
              <p14:xfrm>
                <a:off x="7355237" y="4618289"/>
                <a:ext cx="40680" cy="48600"/>
              </p14:xfrm>
            </p:contentPart>
          </mc:Choice>
          <mc:Fallback>
            <p:pic>
              <p:nvPicPr>
                <p:cNvPr id="114" name="Ink 113">
                  <a:extLst>
                    <a:ext uri="{FF2B5EF4-FFF2-40B4-BE49-F238E27FC236}">
                      <a16:creationId xmlns:a16="http://schemas.microsoft.com/office/drawing/2014/main" id="{9F33C9C7-C56E-51EB-995D-0E6E937E07CA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7346237" y="4609649"/>
                  <a:ext cx="5832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115" name="Ink 114">
                  <a:extLst>
                    <a:ext uri="{FF2B5EF4-FFF2-40B4-BE49-F238E27FC236}">
                      <a16:creationId xmlns:a16="http://schemas.microsoft.com/office/drawing/2014/main" id="{A40B3315-C1E3-E4DF-8A19-F53BD20E0C70}"/>
                    </a:ext>
                  </a:extLst>
                </p14:cNvPr>
                <p14:cNvContentPartPr/>
                <p14:nvPr/>
              </p14:nvContentPartPr>
              <p14:xfrm>
                <a:off x="7402757" y="4647449"/>
                <a:ext cx="33480" cy="25560"/>
              </p14:xfrm>
            </p:contentPart>
          </mc:Choice>
          <mc:Fallback>
            <p:pic>
              <p:nvPicPr>
                <p:cNvPr id="115" name="Ink 114">
                  <a:extLst>
                    <a:ext uri="{FF2B5EF4-FFF2-40B4-BE49-F238E27FC236}">
                      <a16:creationId xmlns:a16="http://schemas.microsoft.com/office/drawing/2014/main" id="{A40B3315-C1E3-E4DF-8A19-F53BD20E0C70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7394117" y="4638809"/>
                  <a:ext cx="51120" cy="43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116" name="Ink 115">
                  <a:extLst>
                    <a:ext uri="{FF2B5EF4-FFF2-40B4-BE49-F238E27FC236}">
                      <a16:creationId xmlns:a16="http://schemas.microsoft.com/office/drawing/2014/main" id="{00DEF256-D446-E837-FD90-F4F77376E52C}"/>
                    </a:ext>
                  </a:extLst>
                </p14:cNvPr>
                <p14:cNvContentPartPr/>
                <p14:nvPr/>
              </p14:nvContentPartPr>
              <p14:xfrm>
                <a:off x="7436597" y="4625489"/>
                <a:ext cx="36720" cy="49680"/>
              </p14:xfrm>
            </p:contentPart>
          </mc:Choice>
          <mc:Fallback>
            <p:pic>
              <p:nvPicPr>
                <p:cNvPr id="116" name="Ink 115">
                  <a:extLst>
                    <a:ext uri="{FF2B5EF4-FFF2-40B4-BE49-F238E27FC236}">
                      <a16:creationId xmlns:a16="http://schemas.microsoft.com/office/drawing/2014/main" id="{00DEF256-D446-E837-FD90-F4F77376E52C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7427597" y="4616489"/>
                  <a:ext cx="54360" cy="67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117" name="Ink 116">
                  <a:extLst>
                    <a:ext uri="{FF2B5EF4-FFF2-40B4-BE49-F238E27FC236}">
                      <a16:creationId xmlns:a16="http://schemas.microsoft.com/office/drawing/2014/main" id="{046D6F3C-15AC-8E96-EDF2-3E6C49EED600}"/>
                    </a:ext>
                  </a:extLst>
                </p14:cNvPr>
                <p14:cNvContentPartPr/>
                <p14:nvPr/>
              </p14:nvContentPartPr>
              <p14:xfrm>
                <a:off x="7076957" y="4694969"/>
                <a:ext cx="351360" cy="22680"/>
              </p14:xfrm>
            </p:contentPart>
          </mc:Choice>
          <mc:Fallback>
            <p:pic>
              <p:nvPicPr>
                <p:cNvPr id="117" name="Ink 116">
                  <a:extLst>
                    <a:ext uri="{FF2B5EF4-FFF2-40B4-BE49-F238E27FC236}">
                      <a16:creationId xmlns:a16="http://schemas.microsoft.com/office/drawing/2014/main" id="{046D6F3C-15AC-8E96-EDF2-3E6C49EED600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7067957" y="4686329"/>
                  <a:ext cx="369000" cy="4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118" name="Ink 117">
                  <a:extLst>
                    <a:ext uri="{FF2B5EF4-FFF2-40B4-BE49-F238E27FC236}">
                      <a16:creationId xmlns:a16="http://schemas.microsoft.com/office/drawing/2014/main" id="{F959A14B-D323-29D6-BE16-AD5FCE050CF7}"/>
                    </a:ext>
                  </a:extLst>
                </p14:cNvPr>
                <p14:cNvContentPartPr/>
                <p14:nvPr/>
              </p14:nvContentPartPr>
              <p14:xfrm>
                <a:off x="7266317" y="4768769"/>
                <a:ext cx="56520" cy="41040"/>
              </p14:xfrm>
            </p:contentPart>
          </mc:Choice>
          <mc:Fallback>
            <p:pic>
              <p:nvPicPr>
                <p:cNvPr id="118" name="Ink 117">
                  <a:extLst>
                    <a:ext uri="{FF2B5EF4-FFF2-40B4-BE49-F238E27FC236}">
                      <a16:creationId xmlns:a16="http://schemas.microsoft.com/office/drawing/2014/main" id="{F959A14B-D323-29D6-BE16-AD5FCE050CF7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7257317" y="4759769"/>
                  <a:ext cx="74160" cy="586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592CAD23-C770-DBE9-CF61-F6F5367C23D9}"/>
              </a:ext>
            </a:extLst>
          </p:cNvPr>
          <p:cNvGrpSpPr/>
          <p:nvPr/>
        </p:nvGrpSpPr>
        <p:grpSpPr>
          <a:xfrm>
            <a:off x="4894673" y="3687047"/>
            <a:ext cx="1728850" cy="590400"/>
            <a:chOff x="4894673" y="3687047"/>
            <a:chExt cx="1728850" cy="590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4" name="Ink 3">
                  <a:extLst>
                    <a:ext uri="{FF2B5EF4-FFF2-40B4-BE49-F238E27FC236}">
                      <a16:creationId xmlns:a16="http://schemas.microsoft.com/office/drawing/2014/main" id="{EAD2D98C-FC84-52C5-4CCF-9CB718EF65C1}"/>
                    </a:ext>
                  </a:extLst>
                </p14:cNvPr>
                <p14:cNvContentPartPr/>
                <p14:nvPr/>
              </p14:nvContentPartPr>
              <p14:xfrm>
                <a:off x="4894673" y="3748967"/>
                <a:ext cx="104400" cy="92880"/>
              </p14:xfrm>
            </p:contentPart>
          </mc:Choice>
          <mc:Fallback>
            <p:pic>
              <p:nvPicPr>
                <p:cNvPr id="4" name="Ink 3">
                  <a:extLst>
                    <a:ext uri="{FF2B5EF4-FFF2-40B4-BE49-F238E27FC236}">
                      <a16:creationId xmlns:a16="http://schemas.microsoft.com/office/drawing/2014/main" id="{EAD2D98C-FC84-52C5-4CCF-9CB718EF65C1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4886033" y="3739967"/>
                  <a:ext cx="122040" cy="11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7">
              <p14:nvContentPartPr>
                <p14:cNvPr id="5" name="Ink 4">
                  <a:extLst>
                    <a:ext uri="{FF2B5EF4-FFF2-40B4-BE49-F238E27FC236}">
                      <a16:creationId xmlns:a16="http://schemas.microsoft.com/office/drawing/2014/main" id="{0CFB0E64-0856-6B3E-CF60-AFCCEE00C811}"/>
                    </a:ext>
                  </a:extLst>
                </p14:cNvPr>
                <p14:cNvContentPartPr/>
                <p14:nvPr/>
              </p14:nvContentPartPr>
              <p14:xfrm>
                <a:off x="4932473" y="3702167"/>
                <a:ext cx="11160" cy="5040"/>
              </p14:xfrm>
            </p:contentPart>
          </mc:Choice>
          <mc:Fallback>
            <p:pic>
              <p:nvPicPr>
                <p:cNvPr id="5" name="Ink 4">
                  <a:extLst>
                    <a:ext uri="{FF2B5EF4-FFF2-40B4-BE49-F238E27FC236}">
                      <a16:creationId xmlns:a16="http://schemas.microsoft.com/office/drawing/2014/main" id="{0CFB0E64-0856-6B3E-CF60-AFCCEE00C811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4923473" y="3693527"/>
                  <a:ext cx="28800" cy="2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9">
              <p14:nvContentPartPr>
                <p14:cNvPr id="6" name="Ink 5">
                  <a:extLst>
                    <a:ext uri="{FF2B5EF4-FFF2-40B4-BE49-F238E27FC236}">
                      <a16:creationId xmlns:a16="http://schemas.microsoft.com/office/drawing/2014/main" id="{8043DD79-F349-67FB-538B-FFC4C79BCD58}"/>
                    </a:ext>
                  </a:extLst>
                </p14:cNvPr>
                <p14:cNvContentPartPr/>
                <p14:nvPr/>
              </p14:nvContentPartPr>
              <p14:xfrm>
                <a:off x="5066033" y="3770207"/>
                <a:ext cx="38520" cy="4320"/>
              </p14:xfrm>
            </p:contentPart>
          </mc:Choice>
          <mc:Fallback>
            <p:pic>
              <p:nvPicPr>
                <p:cNvPr id="6" name="Ink 5">
                  <a:extLst>
                    <a:ext uri="{FF2B5EF4-FFF2-40B4-BE49-F238E27FC236}">
                      <a16:creationId xmlns:a16="http://schemas.microsoft.com/office/drawing/2014/main" id="{8043DD79-F349-67FB-538B-FFC4C79BCD58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5057033" y="3761207"/>
                  <a:ext cx="56160" cy="2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1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BEC4D083-E180-0FAA-7F69-3AE524731590}"/>
                    </a:ext>
                  </a:extLst>
                </p14:cNvPr>
                <p14:cNvContentPartPr/>
                <p14:nvPr/>
              </p14:nvContentPartPr>
              <p14:xfrm>
                <a:off x="5077553" y="3801167"/>
                <a:ext cx="41760" cy="900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BEC4D083-E180-0FAA-7F69-3AE524731590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5068553" y="3792527"/>
                  <a:ext cx="59400" cy="2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3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74C7FAD3-929A-590A-F4E0-02CD47B84701}"/>
                    </a:ext>
                  </a:extLst>
                </p14:cNvPr>
                <p14:cNvContentPartPr/>
                <p14:nvPr/>
              </p14:nvContentPartPr>
              <p14:xfrm>
                <a:off x="5340713" y="3687047"/>
                <a:ext cx="64800" cy="1087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74C7FAD3-929A-590A-F4E0-02CD47B84701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5331713" y="3678047"/>
                  <a:ext cx="82440" cy="126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5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C12DB50E-DA18-284A-F1E4-14C4573A54A0}"/>
                    </a:ext>
                  </a:extLst>
                </p14:cNvPr>
                <p14:cNvContentPartPr/>
                <p14:nvPr/>
              </p14:nvContentPartPr>
              <p14:xfrm>
                <a:off x="5352953" y="3755087"/>
                <a:ext cx="36000" cy="432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C12DB50E-DA18-284A-F1E4-14C4573A54A0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5343953" y="3746447"/>
                  <a:ext cx="53640" cy="21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6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9C1D872-E997-EE39-61B8-76300C685680}"/>
                    </a:ext>
                  </a:extLst>
                </p14:cNvPr>
                <p14:cNvContentPartPr/>
                <p14:nvPr/>
              </p14:nvContentPartPr>
              <p14:xfrm>
                <a:off x="5094473" y="4135967"/>
                <a:ext cx="38160" cy="792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9C1D872-E997-EE39-61B8-76300C685680}"/>
                    </a:ext>
                  </a:extLst>
                </p:cNvPr>
                <p:cNvPicPr/>
                <p:nvPr/>
              </p:nvPicPr>
              <p:blipFill>
                <a:blip r:embed="rId67"/>
                <a:stretch>
                  <a:fillRect/>
                </a:stretch>
              </p:blipFill>
              <p:spPr>
                <a:xfrm>
                  <a:off x="5085833" y="4127327"/>
                  <a:ext cx="55800" cy="2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8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E452B23-0E0B-8995-D668-5025CFBA9114}"/>
                    </a:ext>
                  </a:extLst>
                </p14:cNvPr>
                <p14:cNvContentPartPr/>
                <p14:nvPr/>
              </p14:nvContentPartPr>
              <p14:xfrm>
                <a:off x="5100233" y="4156127"/>
                <a:ext cx="48960" cy="720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E452B23-0E0B-8995-D668-5025CFBA9114}"/>
                    </a:ext>
                  </a:extLst>
                </p:cNvPr>
                <p:cNvPicPr/>
                <p:nvPr/>
              </p:nvPicPr>
              <p:blipFill>
                <a:blip r:embed="rId69"/>
                <a:stretch>
                  <a:fillRect/>
                </a:stretch>
              </p:blipFill>
              <p:spPr>
                <a:xfrm>
                  <a:off x="5091233" y="4147127"/>
                  <a:ext cx="66600" cy="2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0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id="{E0854EDA-2A17-0711-484A-449AFE7C8F02}"/>
                    </a:ext>
                  </a:extLst>
                </p14:cNvPr>
                <p14:cNvContentPartPr/>
                <p14:nvPr/>
              </p14:nvContentPartPr>
              <p14:xfrm>
                <a:off x="5233433" y="4113647"/>
                <a:ext cx="29160" cy="163800"/>
              </p14:xfrm>
            </p:contentPart>
          </mc:Choice>
          <mc:Fallback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id="{E0854EDA-2A17-0711-484A-449AFE7C8F02}"/>
                    </a:ext>
                  </a:extLst>
                </p:cNvPr>
                <p:cNvPicPr/>
                <p:nvPr/>
              </p:nvPicPr>
              <p:blipFill>
                <a:blip r:embed="rId71"/>
                <a:stretch>
                  <a:fillRect/>
                </a:stretch>
              </p:blipFill>
              <p:spPr>
                <a:xfrm>
                  <a:off x="5224793" y="4105007"/>
                  <a:ext cx="46800" cy="18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2">
              <p14:nvContentPartPr>
                <p14:cNvPr id="21" name="Ink 20">
                  <a:extLst>
                    <a:ext uri="{FF2B5EF4-FFF2-40B4-BE49-F238E27FC236}">
                      <a16:creationId xmlns:a16="http://schemas.microsoft.com/office/drawing/2014/main" id="{AAAC3991-D87F-B98E-246B-063997037F75}"/>
                    </a:ext>
                  </a:extLst>
                </p14:cNvPr>
                <p14:cNvContentPartPr/>
                <p14:nvPr/>
              </p14:nvContentPartPr>
              <p14:xfrm>
                <a:off x="5432153" y="3769847"/>
                <a:ext cx="33840" cy="48240"/>
              </p14:xfrm>
            </p:contentPart>
          </mc:Choice>
          <mc:Fallback>
            <p:pic>
              <p:nvPicPr>
                <p:cNvPr id="21" name="Ink 20">
                  <a:extLst>
                    <a:ext uri="{FF2B5EF4-FFF2-40B4-BE49-F238E27FC236}">
                      <a16:creationId xmlns:a16="http://schemas.microsoft.com/office/drawing/2014/main" id="{AAAC3991-D87F-B98E-246B-063997037F75}"/>
                    </a:ext>
                  </a:extLst>
                </p:cNvPr>
                <p:cNvPicPr/>
                <p:nvPr/>
              </p:nvPicPr>
              <p:blipFill>
                <a:blip r:embed="rId73"/>
                <a:stretch>
                  <a:fillRect/>
                </a:stretch>
              </p:blipFill>
              <p:spPr>
                <a:xfrm>
                  <a:off x="5423513" y="3760847"/>
                  <a:ext cx="51480" cy="6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4">
              <p14:nvContentPartPr>
                <p14:cNvPr id="22" name="Ink 21">
                  <a:extLst>
                    <a:ext uri="{FF2B5EF4-FFF2-40B4-BE49-F238E27FC236}">
                      <a16:creationId xmlns:a16="http://schemas.microsoft.com/office/drawing/2014/main" id="{420784F4-CFD2-CF61-4C04-0F6AF7E119B1}"/>
                    </a:ext>
                  </a:extLst>
                </p14:cNvPr>
                <p14:cNvContentPartPr/>
                <p14:nvPr/>
              </p14:nvContentPartPr>
              <p14:xfrm>
                <a:off x="5470673" y="3770567"/>
                <a:ext cx="25200" cy="43920"/>
              </p14:xfrm>
            </p:contentPart>
          </mc:Choice>
          <mc:Fallback>
            <p:pic>
              <p:nvPicPr>
                <p:cNvPr id="22" name="Ink 21">
                  <a:extLst>
                    <a:ext uri="{FF2B5EF4-FFF2-40B4-BE49-F238E27FC236}">
                      <a16:creationId xmlns:a16="http://schemas.microsoft.com/office/drawing/2014/main" id="{420784F4-CFD2-CF61-4C04-0F6AF7E119B1}"/>
                    </a:ext>
                  </a:extLst>
                </p:cNvPr>
                <p:cNvPicPr/>
                <p:nvPr/>
              </p:nvPicPr>
              <p:blipFill>
                <a:blip r:embed="rId75"/>
                <a:stretch>
                  <a:fillRect/>
                </a:stretch>
              </p:blipFill>
              <p:spPr>
                <a:xfrm>
                  <a:off x="5462033" y="3761567"/>
                  <a:ext cx="42840" cy="61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6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0975F728-3FC5-1429-BE29-452469A190ED}"/>
                    </a:ext>
                  </a:extLst>
                </p14:cNvPr>
                <p14:cNvContentPartPr/>
                <p14:nvPr/>
              </p14:nvContentPartPr>
              <p14:xfrm>
                <a:off x="6448923" y="3923732"/>
                <a:ext cx="66600" cy="161280"/>
              </p14:xfrm>
            </p:contentPart>
          </mc:Choice>
          <mc:Fallback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0975F728-3FC5-1429-BE29-452469A190ED}"/>
                    </a:ext>
                  </a:extLst>
                </p:cNvPr>
                <p:cNvPicPr/>
                <p:nvPr/>
              </p:nvPicPr>
              <p:blipFill>
                <a:blip r:embed="rId77"/>
                <a:stretch>
                  <a:fillRect/>
                </a:stretch>
              </p:blipFill>
              <p:spPr>
                <a:xfrm>
                  <a:off x="6439923" y="3914732"/>
                  <a:ext cx="84240" cy="17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8">
              <p14:nvContentPartPr>
                <p14:cNvPr id="46" name="Ink 45">
                  <a:extLst>
                    <a:ext uri="{FF2B5EF4-FFF2-40B4-BE49-F238E27FC236}">
                      <a16:creationId xmlns:a16="http://schemas.microsoft.com/office/drawing/2014/main" id="{31FE078F-88FB-D5C6-7E7E-B772F03BF06B}"/>
                    </a:ext>
                  </a:extLst>
                </p14:cNvPr>
                <p14:cNvContentPartPr/>
                <p14:nvPr/>
              </p14:nvContentPartPr>
              <p14:xfrm>
                <a:off x="6514083" y="3871532"/>
                <a:ext cx="25920" cy="48240"/>
              </p14:xfrm>
            </p:contentPart>
          </mc:Choice>
          <mc:Fallback>
            <p:pic>
              <p:nvPicPr>
                <p:cNvPr id="46" name="Ink 45">
                  <a:extLst>
                    <a:ext uri="{FF2B5EF4-FFF2-40B4-BE49-F238E27FC236}">
                      <a16:creationId xmlns:a16="http://schemas.microsoft.com/office/drawing/2014/main" id="{31FE078F-88FB-D5C6-7E7E-B772F03BF06B}"/>
                    </a:ext>
                  </a:extLst>
                </p:cNvPr>
                <p:cNvPicPr/>
                <p:nvPr/>
              </p:nvPicPr>
              <p:blipFill>
                <a:blip r:embed="rId79"/>
                <a:stretch>
                  <a:fillRect/>
                </a:stretch>
              </p:blipFill>
              <p:spPr>
                <a:xfrm>
                  <a:off x="6505083" y="3862532"/>
                  <a:ext cx="43560" cy="6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0">
              <p14:nvContentPartPr>
                <p14:cNvPr id="48" name="Ink 47">
                  <a:extLst>
                    <a:ext uri="{FF2B5EF4-FFF2-40B4-BE49-F238E27FC236}">
                      <a16:creationId xmlns:a16="http://schemas.microsoft.com/office/drawing/2014/main" id="{7A581DF9-B124-7769-D13D-C80C265AD3E0}"/>
                    </a:ext>
                  </a:extLst>
                </p14:cNvPr>
                <p14:cNvContentPartPr/>
                <p14:nvPr/>
              </p14:nvContentPartPr>
              <p14:xfrm>
                <a:off x="6578163" y="3877292"/>
                <a:ext cx="45360" cy="222120"/>
              </p14:xfrm>
            </p:contentPart>
          </mc:Choice>
          <mc:Fallback>
            <p:pic>
              <p:nvPicPr>
                <p:cNvPr id="48" name="Ink 47">
                  <a:extLst>
                    <a:ext uri="{FF2B5EF4-FFF2-40B4-BE49-F238E27FC236}">
                      <a16:creationId xmlns:a16="http://schemas.microsoft.com/office/drawing/2014/main" id="{7A581DF9-B124-7769-D13D-C80C265AD3E0}"/>
                    </a:ext>
                  </a:extLst>
                </p:cNvPr>
                <p:cNvPicPr/>
                <p:nvPr/>
              </p:nvPicPr>
              <p:blipFill>
                <a:blip r:embed="rId81"/>
                <a:stretch>
                  <a:fillRect/>
                </a:stretch>
              </p:blipFill>
              <p:spPr>
                <a:xfrm>
                  <a:off x="6569523" y="3868652"/>
                  <a:ext cx="63000" cy="23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2">
              <p14:nvContentPartPr>
                <p14:cNvPr id="50" name="Ink 49">
                  <a:extLst>
                    <a:ext uri="{FF2B5EF4-FFF2-40B4-BE49-F238E27FC236}">
                      <a16:creationId xmlns:a16="http://schemas.microsoft.com/office/drawing/2014/main" id="{9FCAE6F9-3121-9956-73AA-74AB278CFE1F}"/>
                    </a:ext>
                  </a:extLst>
                </p14:cNvPr>
                <p14:cNvContentPartPr/>
                <p14:nvPr/>
              </p14:nvContentPartPr>
              <p14:xfrm>
                <a:off x="5411763" y="3944972"/>
                <a:ext cx="47160" cy="254520"/>
              </p14:xfrm>
            </p:contentPart>
          </mc:Choice>
          <mc:Fallback>
            <p:pic>
              <p:nvPicPr>
                <p:cNvPr id="50" name="Ink 49">
                  <a:extLst>
                    <a:ext uri="{FF2B5EF4-FFF2-40B4-BE49-F238E27FC236}">
                      <a16:creationId xmlns:a16="http://schemas.microsoft.com/office/drawing/2014/main" id="{9FCAE6F9-3121-9956-73AA-74AB278CFE1F}"/>
                    </a:ext>
                  </a:extLst>
                </p:cNvPr>
                <p:cNvPicPr/>
                <p:nvPr/>
              </p:nvPicPr>
              <p:blipFill>
                <a:blip r:embed="rId83"/>
                <a:stretch>
                  <a:fillRect/>
                </a:stretch>
              </p:blipFill>
              <p:spPr>
                <a:xfrm>
                  <a:off x="5403123" y="3936332"/>
                  <a:ext cx="64800" cy="27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4">
              <p14:nvContentPartPr>
                <p14:cNvPr id="56" name="Ink 55">
                  <a:extLst>
                    <a:ext uri="{FF2B5EF4-FFF2-40B4-BE49-F238E27FC236}">
                      <a16:creationId xmlns:a16="http://schemas.microsoft.com/office/drawing/2014/main" id="{43D345C1-B714-DB4B-4DF0-B6ACE354B538}"/>
                    </a:ext>
                  </a:extLst>
                </p14:cNvPr>
                <p14:cNvContentPartPr/>
                <p14:nvPr/>
              </p14:nvContentPartPr>
              <p14:xfrm>
                <a:off x="5207643" y="3770732"/>
                <a:ext cx="29880" cy="143640"/>
              </p14:xfrm>
            </p:contentPart>
          </mc:Choice>
          <mc:Fallback>
            <p:pic>
              <p:nvPicPr>
                <p:cNvPr id="56" name="Ink 55">
                  <a:extLst>
                    <a:ext uri="{FF2B5EF4-FFF2-40B4-BE49-F238E27FC236}">
                      <a16:creationId xmlns:a16="http://schemas.microsoft.com/office/drawing/2014/main" id="{43D345C1-B714-DB4B-4DF0-B6ACE354B538}"/>
                    </a:ext>
                  </a:extLst>
                </p:cNvPr>
                <p:cNvPicPr/>
                <p:nvPr/>
              </p:nvPicPr>
              <p:blipFill>
                <a:blip r:embed="rId85"/>
                <a:stretch>
                  <a:fillRect/>
                </a:stretch>
              </p:blipFill>
              <p:spPr>
                <a:xfrm>
                  <a:off x="5198643" y="3762092"/>
                  <a:ext cx="47520" cy="16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6">
              <p14:nvContentPartPr>
                <p14:cNvPr id="57" name="Ink 56">
                  <a:extLst>
                    <a:ext uri="{FF2B5EF4-FFF2-40B4-BE49-F238E27FC236}">
                      <a16:creationId xmlns:a16="http://schemas.microsoft.com/office/drawing/2014/main" id="{C30E3CDE-A955-9753-44E3-10101E1990BE}"/>
                    </a:ext>
                  </a:extLst>
                </p14:cNvPr>
                <p14:cNvContentPartPr/>
                <p14:nvPr/>
              </p14:nvContentPartPr>
              <p14:xfrm>
                <a:off x="5256243" y="3760652"/>
                <a:ext cx="42480" cy="72000"/>
              </p14:xfrm>
            </p:contentPart>
          </mc:Choice>
          <mc:Fallback>
            <p:pic>
              <p:nvPicPr>
                <p:cNvPr id="57" name="Ink 56">
                  <a:extLst>
                    <a:ext uri="{FF2B5EF4-FFF2-40B4-BE49-F238E27FC236}">
                      <a16:creationId xmlns:a16="http://schemas.microsoft.com/office/drawing/2014/main" id="{C30E3CDE-A955-9753-44E3-10101E1990BE}"/>
                    </a:ext>
                  </a:extLst>
                </p:cNvPr>
                <p:cNvPicPr/>
                <p:nvPr/>
              </p:nvPicPr>
              <p:blipFill>
                <a:blip r:embed="rId87"/>
                <a:stretch>
                  <a:fillRect/>
                </a:stretch>
              </p:blipFill>
              <p:spPr>
                <a:xfrm>
                  <a:off x="5247603" y="3752012"/>
                  <a:ext cx="60120" cy="8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8">
              <p14:nvContentPartPr>
                <p14:cNvPr id="59" name="Ink 58">
                  <a:extLst>
                    <a:ext uri="{FF2B5EF4-FFF2-40B4-BE49-F238E27FC236}">
                      <a16:creationId xmlns:a16="http://schemas.microsoft.com/office/drawing/2014/main" id="{703333F0-2615-1B06-DD55-9E78E95E88CF}"/>
                    </a:ext>
                  </a:extLst>
                </p14:cNvPr>
                <p14:cNvContentPartPr/>
                <p14:nvPr/>
              </p14:nvContentPartPr>
              <p14:xfrm>
                <a:off x="5305203" y="4082132"/>
                <a:ext cx="49320" cy="62640"/>
              </p14:xfrm>
            </p:contentPart>
          </mc:Choice>
          <mc:Fallback>
            <p:pic>
              <p:nvPicPr>
                <p:cNvPr id="59" name="Ink 58">
                  <a:extLst>
                    <a:ext uri="{FF2B5EF4-FFF2-40B4-BE49-F238E27FC236}">
                      <a16:creationId xmlns:a16="http://schemas.microsoft.com/office/drawing/2014/main" id="{703333F0-2615-1B06-DD55-9E78E95E88CF}"/>
                    </a:ext>
                  </a:extLst>
                </p:cNvPr>
                <p:cNvPicPr/>
                <p:nvPr/>
              </p:nvPicPr>
              <p:blipFill>
                <a:blip r:embed="rId89"/>
                <a:stretch>
                  <a:fillRect/>
                </a:stretch>
              </p:blipFill>
              <p:spPr>
                <a:xfrm>
                  <a:off x="5296203" y="4073132"/>
                  <a:ext cx="6696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0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2E1B5F9-3A37-1EDB-C3FE-99966706F404}"/>
                    </a:ext>
                  </a:extLst>
                </p14:cNvPr>
                <p14:cNvContentPartPr/>
                <p14:nvPr/>
              </p14:nvContentPartPr>
              <p14:xfrm>
                <a:off x="5470673" y="4054607"/>
                <a:ext cx="54720" cy="180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2E1B5F9-3A37-1EDB-C3FE-99966706F404}"/>
                    </a:ext>
                  </a:extLst>
                </p:cNvPr>
                <p:cNvPicPr/>
                <p:nvPr/>
              </p:nvPicPr>
              <p:blipFill>
                <a:blip r:embed="rId91"/>
                <a:stretch>
                  <a:fillRect/>
                </a:stretch>
              </p:blipFill>
              <p:spPr>
                <a:xfrm>
                  <a:off x="5462033" y="4045967"/>
                  <a:ext cx="72360" cy="1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2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C32DA845-1C5A-CA31-9EDF-BB7F81CF4233}"/>
                    </a:ext>
                  </a:extLst>
                </p14:cNvPr>
                <p14:cNvContentPartPr/>
                <p14:nvPr/>
              </p14:nvContentPartPr>
              <p14:xfrm>
                <a:off x="5480393" y="4064327"/>
                <a:ext cx="2520" cy="6012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C32DA845-1C5A-CA31-9EDF-BB7F81CF4233}"/>
                    </a:ext>
                  </a:extLst>
                </p:cNvPr>
                <p:cNvPicPr/>
                <p:nvPr/>
              </p:nvPicPr>
              <p:blipFill>
                <a:blip r:embed="rId93"/>
                <a:stretch>
                  <a:fillRect/>
                </a:stretch>
              </p:blipFill>
              <p:spPr>
                <a:xfrm>
                  <a:off x="5471393" y="4055327"/>
                  <a:ext cx="20160" cy="7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4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51E69AEA-3263-428E-4857-3C3F946634DC}"/>
                    </a:ext>
                  </a:extLst>
                </p14:cNvPr>
                <p14:cNvContentPartPr/>
                <p14:nvPr/>
              </p14:nvContentPartPr>
              <p14:xfrm>
                <a:off x="5503433" y="4064327"/>
                <a:ext cx="12960" cy="6408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51E69AEA-3263-428E-4857-3C3F946634DC}"/>
                    </a:ext>
                  </a:extLst>
                </p:cNvPr>
                <p:cNvPicPr/>
                <p:nvPr/>
              </p:nvPicPr>
              <p:blipFill>
                <a:blip r:embed="rId95"/>
                <a:stretch>
                  <a:fillRect/>
                </a:stretch>
              </p:blipFill>
              <p:spPr>
                <a:xfrm>
                  <a:off x="5494793" y="4055327"/>
                  <a:ext cx="30600" cy="81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6">
              <p14:nvContentPartPr>
                <p14:cNvPr id="24" name="Ink 23">
                  <a:extLst>
                    <a:ext uri="{FF2B5EF4-FFF2-40B4-BE49-F238E27FC236}">
                      <a16:creationId xmlns:a16="http://schemas.microsoft.com/office/drawing/2014/main" id="{988E0A06-41A7-70BD-3B70-262F5FC14A28}"/>
                    </a:ext>
                  </a:extLst>
                </p14:cNvPr>
                <p14:cNvContentPartPr/>
                <p14:nvPr/>
              </p14:nvContentPartPr>
              <p14:xfrm>
                <a:off x="5568953" y="3933647"/>
                <a:ext cx="79200" cy="251640"/>
              </p14:xfrm>
            </p:contentPart>
          </mc:Choice>
          <mc:Fallback>
            <p:pic>
              <p:nvPicPr>
                <p:cNvPr id="24" name="Ink 23">
                  <a:extLst>
                    <a:ext uri="{FF2B5EF4-FFF2-40B4-BE49-F238E27FC236}">
                      <a16:creationId xmlns:a16="http://schemas.microsoft.com/office/drawing/2014/main" id="{988E0A06-41A7-70BD-3B70-262F5FC14A28}"/>
                    </a:ext>
                  </a:extLst>
                </p:cNvPr>
                <p:cNvPicPr/>
                <p:nvPr/>
              </p:nvPicPr>
              <p:blipFill>
                <a:blip r:embed="rId97"/>
                <a:stretch>
                  <a:fillRect/>
                </a:stretch>
              </p:blipFill>
              <p:spPr>
                <a:xfrm>
                  <a:off x="5559953" y="3925007"/>
                  <a:ext cx="96840" cy="269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8">
              <p14:nvContentPartPr>
                <p14:cNvPr id="25" name="Ink 24">
                  <a:extLst>
                    <a:ext uri="{FF2B5EF4-FFF2-40B4-BE49-F238E27FC236}">
                      <a16:creationId xmlns:a16="http://schemas.microsoft.com/office/drawing/2014/main" id="{AE8BEC32-D0A6-4F5C-9DA2-4CC8B0F26EB0}"/>
                    </a:ext>
                  </a:extLst>
                </p14:cNvPr>
                <p14:cNvContentPartPr/>
                <p14:nvPr/>
              </p14:nvContentPartPr>
              <p14:xfrm>
                <a:off x="5661473" y="4035527"/>
                <a:ext cx="47880" cy="74160"/>
              </p14:xfrm>
            </p:contentPart>
          </mc:Choice>
          <mc:Fallback>
            <p:pic>
              <p:nvPicPr>
                <p:cNvPr id="25" name="Ink 24">
                  <a:extLst>
                    <a:ext uri="{FF2B5EF4-FFF2-40B4-BE49-F238E27FC236}">
                      <a16:creationId xmlns:a16="http://schemas.microsoft.com/office/drawing/2014/main" id="{AE8BEC32-D0A6-4F5C-9DA2-4CC8B0F26EB0}"/>
                    </a:ext>
                  </a:extLst>
                </p:cNvPr>
                <p:cNvPicPr/>
                <p:nvPr/>
              </p:nvPicPr>
              <p:blipFill>
                <a:blip r:embed="rId99"/>
                <a:stretch>
                  <a:fillRect/>
                </a:stretch>
              </p:blipFill>
              <p:spPr>
                <a:xfrm>
                  <a:off x="5652473" y="4026527"/>
                  <a:ext cx="65520" cy="9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0">
              <p14:nvContentPartPr>
                <p14:cNvPr id="26" name="Ink 25">
                  <a:extLst>
                    <a:ext uri="{FF2B5EF4-FFF2-40B4-BE49-F238E27FC236}">
                      <a16:creationId xmlns:a16="http://schemas.microsoft.com/office/drawing/2014/main" id="{F40A3ACB-E318-FB82-EB39-A5C5DE2C6A2E}"/>
                    </a:ext>
                  </a:extLst>
                </p14:cNvPr>
                <p14:cNvContentPartPr/>
                <p14:nvPr/>
              </p14:nvContentPartPr>
              <p14:xfrm>
                <a:off x="5727353" y="4052087"/>
                <a:ext cx="32760" cy="3960"/>
              </p14:xfrm>
            </p:contentPart>
          </mc:Choice>
          <mc:Fallback>
            <p:pic>
              <p:nvPicPr>
                <p:cNvPr id="26" name="Ink 25">
                  <a:extLst>
                    <a:ext uri="{FF2B5EF4-FFF2-40B4-BE49-F238E27FC236}">
                      <a16:creationId xmlns:a16="http://schemas.microsoft.com/office/drawing/2014/main" id="{F40A3ACB-E318-FB82-EB39-A5C5DE2C6A2E}"/>
                    </a:ext>
                  </a:extLst>
                </p:cNvPr>
                <p:cNvPicPr/>
                <p:nvPr/>
              </p:nvPicPr>
              <p:blipFill>
                <a:blip r:embed="rId101"/>
                <a:stretch>
                  <a:fillRect/>
                </a:stretch>
              </p:blipFill>
              <p:spPr>
                <a:xfrm>
                  <a:off x="5718353" y="4043087"/>
                  <a:ext cx="50400" cy="21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2">
              <p14:nvContentPartPr>
                <p14:cNvPr id="34" name="Ink 33">
                  <a:extLst>
                    <a:ext uri="{FF2B5EF4-FFF2-40B4-BE49-F238E27FC236}">
                      <a16:creationId xmlns:a16="http://schemas.microsoft.com/office/drawing/2014/main" id="{87969345-84EE-121B-0771-6921C17EF09B}"/>
                    </a:ext>
                  </a:extLst>
                </p14:cNvPr>
                <p14:cNvContentPartPr/>
                <p14:nvPr/>
              </p14:nvContentPartPr>
              <p14:xfrm>
                <a:off x="5742963" y="4031012"/>
                <a:ext cx="7920" cy="43560"/>
              </p14:xfrm>
            </p:contentPart>
          </mc:Choice>
          <mc:Fallback>
            <p:pic>
              <p:nvPicPr>
                <p:cNvPr id="34" name="Ink 33">
                  <a:extLst>
                    <a:ext uri="{FF2B5EF4-FFF2-40B4-BE49-F238E27FC236}">
                      <a16:creationId xmlns:a16="http://schemas.microsoft.com/office/drawing/2014/main" id="{87969345-84EE-121B-0771-6921C17EF09B}"/>
                    </a:ext>
                  </a:extLst>
                </p:cNvPr>
                <p:cNvPicPr/>
                <p:nvPr/>
              </p:nvPicPr>
              <p:blipFill>
                <a:blip r:embed="rId103"/>
                <a:stretch>
                  <a:fillRect/>
                </a:stretch>
              </p:blipFill>
              <p:spPr>
                <a:xfrm>
                  <a:off x="5733963" y="4022012"/>
                  <a:ext cx="25560" cy="6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4">
              <p14:nvContentPartPr>
                <p14:cNvPr id="37" name="Ink 36">
                  <a:extLst>
                    <a:ext uri="{FF2B5EF4-FFF2-40B4-BE49-F238E27FC236}">
                      <a16:creationId xmlns:a16="http://schemas.microsoft.com/office/drawing/2014/main" id="{501A9CA9-A736-8C66-2274-CAB9F3C61388}"/>
                    </a:ext>
                  </a:extLst>
                </p14:cNvPr>
                <p14:cNvContentPartPr/>
                <p14:nvPr/>
              </p14:nvContentPartPr>
              <p14:xfrm>
                <a:off x="5907843" y="3937772"/>
                <a:ext cx="69840" cy="225720"/>
              </p14:xfrm>
            </p:contentPart>
          </mc:Choice>
          <mc:Fallback>
            <p:pic>
              <p:nvPicPr>
                <p:cNvPr id="37" name="Ink 36">
                  <a:extLst>
                    <a:ext uri="{FF2B5EF4-FFF2-40B4-BE49-F238E27FC236}">
                      <a16:creationId xmlns:a16="http://schemas.microsoft.com/office/drawing/2014/main" id="{501A9CA9-A736-8C66-2274-CAB9F3C61388}"/>
                    </a:ext>
                  </a:extLst>
                </p:cNvPr>
                <p:cNvPicPr/>
                <p:nvPr/>
              </p:nvPicPr>
              <p:blipFill>
                <a:blip r:embed="rId105"/>
                <a:stretch>
                  <a:fillRect/>
                </a:stretch>
              </p:blipFill>
              <p:spPr>
                <a:xfrm>
                  <a:off x="5899203" y="3928772"/>
                  <a:ext cx="87480" cy="24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6">
              <p14:nvContentPartPr>
                <p14:cNvPr id="38" name="Ink 37">
                  <a:extLst>
                    <a:ext uri="{FF2B5EF4-FFF2-40B4-BE49-F238E27FC236}">
                      <a16:creationId xmlns:a16="http://schemas.microsoft.com/office/drawing/2014/main" id="{A9123779-227F-081B-63A3-D701D70D0F55}"/>
                    </a:ext>
                  </a:extLst>
                </p14:cNvPr>
                <p14:cNvContentPartPr/>
                <p14:nvPr/>
              </p14:nvContentPartPr>
              <p14:xfrm>
                <a:off x="5967963" y="3910412"/>
                <a:ext cx="40320" cy="39960"/>
              </p14:xfrm>
            </p:contentPart>
          </mc:Choice>
          <mc:Fallback>
            <p:pic>
              <p:nvPicPr>
                <p:cNvPr id="38" name="Ink 37">
                  <a:extLst>
                    <a:ext uri="{FF2B5EF4-FFF2-40B4-BE49-F238E27FC236}">
                      <a16:creationId xmlns:a16="http://schemas.microsoft.com/office/drawing/2014/main" id="{A9123779-227F-081B-63A3-D701D70D0F55}"/>
                    </a:ext>
                  </a:extLst>
                </p:cNvPr>
                <p:cNvPicPr/>
                <p:nvPr/>
              </p:nvPicPr>
              <p:blipFill>
                <a:blip r:embed="rId107"/>
                <a:stretch>
                  <a:fillRect/>
                </a:stretch>
              </p:blipFill>
              <p:spPr>
                <a:xfrm>
                  <a:off x="5959323" y="3901412"/>
                  <a:ext cx="5796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8">
              <p14:nvContentPartPr>
                <p14:cNvPr id="39" name="Ink 38">
                  <a:extLst>
                    <a:ext uri="{FF2B5EF4-FFF2-40B4-BE49-F238E27FC236}">
                      <a16:creationId xmlns:a16="http://schemas.microsoft.com/office/drawing/2014/main" id="{F9F4B104-9212-4FF9-71AD-4E02737E1FDE}"/>
                    </a:ext>
                  </a:extLst>
                </p14:cNvPr>
                <p14:cNvContentPartPr/>
                <p14:nvPr/>
              </p14:nvContentPartPr>
              <p14:xfrm>
                <a:off x="6060123" y="4036772"/>
                <a:ext cx="54000" cy="7200"/>
              </p14:xfrm>
            </p:contentPart>
          </mc:Choice>
          <mc:Fallback>
            <p:pic>
              <p:nvPicPr>
                <p:cNvPr id="39" name="Ink 38">
                  <a:extLst>
                    <a:ext uri="{FF2B5EF4-FFF2-40B4-BE49-F238E27FC236}">
                      <a16:creationId xmlns:a16="http://schemas.microsoft.com/office/drawing/2014/main" id="{F9F4B104-9212-4FF9-71AD-4E02737E1FDE}"/>
                    </a:ext>
                  </a:extLst>
                </p:cNvPr>
                <p:cNvPicPr/>
                <p:nvPr/>
              </p:nvPicPr>
              <p:blipFill>
                <a:blip r:embed="rId109"/>
                <a:stretch>
                  <a:fillRect/>
                </a:stretch>
              </p:blipFill>
              <p:spPr>
                <a:xfrm>
                  <a:off x="6051123" y="4028132"/>
                  <a:ext cx="71640" cy="2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0">
              <p14:nvContentPartPr>
                <p14:cNvPr id="40" name="Ink 39">
                  <a:extLst>
                    <a:ext uri="{FF2B5EF4-FFF2-40B4-BE49-F238E27FC236}">
                      <a16:creationId xmlns:a16="http://schemas.microsoft.com/office/drawing/2014/main" id="{A843EBEB-AB26-4578-5AF4-26FC60DBEB0F}"/>
                    </a:ext>
                  </a:extLst>
                </p14:cNvPr>
                <p14:cNvContentPartPr/>
                <p14:nvPr/>
              </p14:nvContentPartPr>
              <p14:xfrm>
                <a:off x="6153363" y="3926972"/>
                <a:ext cx="55440" cy="179280"/>
              </p14:xfrm>
            </p:contentPart>
          </mc:Choice>
          <mc:Fallback>
            <p:pic>
              <p:nvPicPr>
                <p:cNvPr id="40" name="Ink 39">
                  <a:extLst>
                    <a:ext uri="{FF2B5EF4-FFF2-40B4-BE49-F238E27FC236}">
                      <a16:creationId xmlns:a16="http://schemas.microsoft.com/office/drawing/2014/main" id="{A843EBEB-AB26-4578-5AF4-26FC60DBEB0F}"/>
                    </a:ext>
                  </a:extLst>
                </p:cNvPr>
                <p:cNvPicPr/>
                <p:nvPr/>
              </p:nvPicPr>
              <p:blipFill>
                <a:blip r:embed="rId111"/>
                <a:stretch>
                  <a:fillRect/>
                </a:stretch>
              </p:blipFill>
              <p:spPr>
                <a:xfrm>
                  <a:off x="6144363" y="3918332"/>
                  <a:ext cx="73080" cy="19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2">
              <p14:nvContentPartPr>
                <p14:cNvPr id="41" name="Ink 40">
                  <a:extLst>
                    <a:ext uri="{FF2B5EF4-FFF2-40B4-BE49-F238E27FC236}">
                      <a16:creationId xmlns:a16="http://schemas.microsoft.com/office/drawing/2014/main" id="{9949B114-0972-E088-195E-204C59574A21}"/>
                    </a:ext>
                  </a:extLst>
                </p14:cNvPr>
                <p14:cNvContentPartPr/>
                <p14:nvPr/>
              </p14:nvContentPartPr>
              <p14:xfrm>
                <a:off x="6220323" y="4025972"/>
                <a:ext cx="35640" cy="52920"/>
              </p14:xfrm>
            </p:contentPart>
          </mc:Choice>
          <mc:Fallback>
            <p:pic>
              <p:nvPicPr>
                <p:cNvPr id="41" name="Ink 40">
                  <a:extLst>
                    <a:ext uri="{FF2B5EF4-FFF2-40B4-BE49-F238E27FC236}">
                      <a16:creationId xmlns:a16="http://schemas.microsoft.com/office/drawing/2014/main" id="{9949B114-0972-E088-195E-204C59574A21}"/>
                    </a:ext>
                  </a:extLst>
                </p:cNvPr>
                <p:cNvPicPr/>
                <p:nvPr/>
              </p:nvPicPr>
              <p:blipFill>
                <a:blip r:embed="rId113"/>
                <a:stretch>
                  <a:fillRect/>
                </a:stretch>
              </p:blipFill>
              <p:spPr>
                <a:xfrm>
                  <a:off x="6211323" y="4016972"/>
                  <a:ext cx="532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4">
              <p14:nvContentPartPr>
                <p14:cNvPr id="42" name="Ink 41">
                  <a:extLst>
                    <a:ext uri="{FF2B5EF4-FFF2-40B4-BE49-F238E27FC236}">
                      <a16:creationId xmlns:a16="http://schemas.microsoft.com/office/drawing/2014/main" id="{19126109-5D51-39AD-378C-AA5ADFC1A4DE}"/>
                    </a:ext>
                  </a:extLst>
                </p14:cNvPr>
                <p14:cNvContentPartPr/>
                <p14:nvPr/>
              </p14:nvContentPartPr>
              <p14:xfrm>
                <a:off x="6284043" y="4036772"/>
                <a:ext cx="30600" cy="2160"/>
              </p14:xfrm>
            </p:contentPart>
          </mc:Choice>
          <mc:Fallback>
            <p:pic>
              <p:nvPicPr>
                <p:cNvPr id="42" name="Ink 41">
                  <a:extLst>
                    <a:ext uri="{FF2B5EF4-FFF2-40B4-BE49-F238E27FC236}">
                      <a16:creationId xmlns:a16="http://schemas.microsoft.com/office/drawing/2014/main" id="{19126109-5D51-39AD-378C-AA5ADFC1A4DE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275043" y="4027772"/>
                  <a:ext cx="48240" cy="19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5">
              <p14:nvContentPartPr>
                <p14:cNvPr id="120" name="Ink 119">
                  <a:extLst>
                    <a:ext uri="{FF2B5EF4-FFF2-40B4-BE49-F238E27FC236}">
                      <a16:creationId xmlns:a16="http://schemas.microsoft.com/office/drawing/2014/main" id="{41EB815C-DBBA-23B9-1D0D-154D15222DC7}"/>
                    </a:ext>
                  </a:extLst>
                </p14:cNvPr>
                <p14:cNvContentPartPr/>
                <p14:nvPr/>
              </p14:nvContentPartPr>
              <p14:xfrm>
                <a:off x="5815157" y="3997289"/>
                <a:ext cx="42120" cy="31320"/>
              </p14:xfrm>
            </p:contentPart>
          </mc:Choice>
          <mc:Fallback>
            <p:pic>
              <p:nvPicPr>
                <p:cNvPr id="120" name="Ink 119">
                  <a:extLst>
                    <a:ext uri="{FF2B5EF4-FFF2-40B4-BE49-F238E27FC236}">
                      <a16:creationId xmlns:a16="http://schemas.microsoft.com/office/drawing/2014/main" id="{41EB815C-DBBA-23B9-1D0D-154D15222DC7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5806157" y="3988649"/>
                  <a:ext cx="59760" cy="4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7">
              <p14:nvContentPartPr>
                <p14:cNvPr id="121" name="Ink 120">
                  <a:extLst>
                    <a:ext uri="{FF2B5EF4-FFF2-40B4-BE49-F238E27FC236}">
                      <a16:creationId xmlns:a16="http://schemas.microsoft.com/office/drawing/2014/main" id="{F7E38CFB-5514-0383-63F6-94636391B80A}"/>
                    </a:ext>
                  </a:extLst>
                </p14:cNvPr>
                <p14:cNvContentPartPr/>
                <p14:nvPr/>
              </p14:nvContentPartPr>
              <p14:xfrm>
                <a:off x="5871677" y="3985049"/>
                <a:ext cx="38520" cy="33480"/>
              </p14:xfrm>
            </p:contentPart>
          </mc:Choice>
          <mc:Fallback>
            <p:pic>
              <p:nvPicPr>
                <p:cNvPr id="121" name="Ink 120">
                  <a:extLst>
                    <a:ext uri="{FF2B5EF4-FFF2-40B4-BE49-F238E27FC236}">
                      <a16:creationId xmlns:a16="http://schemas.microsoft.com/office/drawing/2014/main" id="{F7E38CFB-5514-0383-63F6-94636391B80A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5862677" y="3976049"/>
                  <a:ext cx="56160" cy="5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9">
              <p14:nvContentPartPr>
                <p14:cNvPr id="122" name="Ink 121">
                  <a:extLst>
                    <a:ext uri="{FF2B5EF4-FFF2-40B4-BE49-F238E27FC236}">
                      <a16:creationId xmlns:a16="http://schemas.microsoft.com/office/drawing/2014/main" id="{4EFF5007-F7F9-EAC3-2D85-AB41FF275066}"/>
                    </a:ext>
                  </a:extLst>
                </p14:cNvPr>
                <p14:cNvContentPartPr/>
                <p14:nvPr/>
              </p14:nvContentPartPr>
              <p14:xfrm>
                <a:off x="5814077" y="4052369"/>
                <a:ext cx="84600" cy="14040"/>
              </p14:xfrm>
            </p:contentPart>
          </mc:Choice>
          <mc:Fallback>
            <p:pic>
              <p:nvPicPr>
                <p:cNvPr id="122" name="Ink 121">
                  <a:extLst>
                    <a:ext uri="{FF2B5EF4-FFF2-40B4-BE49-F238E27FC236}">
                      <a16:creationId xmlns:a16="http://schemas.microsoft.com/office/drawing/2014/main" id="{4EFF5007-F7F9-EAC3-2D85-AB41FF275066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5805437" y="4043729"/>
                  <a:ext cx="102240" cy="31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1">
              <p14:nvContentPartPr>
                <p14:cNvPr id="123" name="Ink 122">
                  <a:extLst>
                    <a:ext uri="{FF2B5EF4-FFF2-40B4-BE49-F238E27FC236}">
                      <a16:creationId xmlns:a16="http://schemas.microsoft.com/office/drawing/2014/main" id="{E496131B-0840-09AB-3372-9B48CCC30730}"/>
                    </a:ext>
                  </a:extLst>
                </p14:cNvPr>
                <p14:cNvContentPartPr/>
                <p14:nvPr/>
              </p14:nvContentPartPr>
              <p14:xfrm>
                <a:off x="5855837" y="4083329"/>
                <a:ext cx="53640" cy="57240"/>
              </p14:xfrm>
            </p:contentPart>
          </mc:Choice>
          <mc:Fallback>
            <p:pic>
              <p:nvPicPr>
                <p:cNvPr id="123" name="Ink 122">
                  <a:extLst>
                    <a:ext uri="{FF2B5EF4-FFF2-40B4-BE49-F238E27FC236}">
                      <a16:creationId xmlns:a16="http://schemas.microsoft.com/office/drawing/2014/main" id="{E496131B-0840-09AB-3372-9B48CCC30730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5847197" y="4074329"/>
                  <a:ext cx="7128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125" name="Ink 124">
                  <a:extLst>
                    <a:ext uri="{FF2B5EF4-FFF2-40B4-BE49-F238E27FC236}">
                      <a16:creationId xmlns:a16="http://schemas.microsoft.com/office/drawing/2014/main" id="{434DC551-5D09-215F-A72D-11EBFB1BD5F4}"/>
                    </a:ext>
                  </a:extLst>
                </p14:cNvPr>
                <p14:cNvContentPartPr/>
                <p14:nvPr/>
              </p14:nvContentPartPr>
              <p14:xfrm>
                <a:off x="6347957" y="3940769"/>
                <a:ext cx="46440" cy="46080"/>
              </p14:xfrm>
            </p:contentPart>
          </mc:Choice>
          <mc:Fallback>
            <p:pic>
              <p:nvPicPr>
                <p:cNvPr id="125" name="Ink 124">
                  <a:extLst>
                    <a:ext uri="{FF2B5EF4-FFF2-40B4-BE49-F238E27FC236}">
                      <a16:creationId xmlns:a16="http://schemas.microsoft.com/office/drawing/2014/main" id="{434DC551-5D09-215F-A72D-11EBFB1BD5F4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6339317" y="3931769"/>
                  <a:ext cx="6408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5">
              <p14:nvContentPartPr>
                <p14:cNvPr id="126" name="Ink 125">
                  <a:extLst>
                    <a:ext uri="{FF2B5EF4-FFF2-40B4-BE49-F238E27FC236}">
                      <a16:creationId xmlns:a16="http://schemas.microsoft.com/office/drawing/2014/main" id="{C4F272DC-5797-7A98-B127-6755FBF65925}"/>
                    </a:ext>
                  </a:extLst>
                </p14:cNvPr>
                <p14:cNvContentPartPr/>
                <p14:nvPr/>
              </p14:nvContentPartPr>
              <p14:xfrm>
                <a:off x="6402677" y="3945089"/>
                <a:ext cx="42840" cy="29160"/>
              </p14:xfrm>
            </p:contentPart>
          </mc:Choice>
          <mc:Fallback>
            <p:pic>
              <p:nvPicPr>
                <p:cNvPr id="126" name="Ink 125">
                  <a:extLst>
                    <a:ext uri="{FF2B5EF4-FFF2-40B4-BE49-F238E27FC236}">
                      <a16:creationId xmlns:a16="http://schemas.microsoft.com/office/drawing/2014/main" id="{C4F272DC-5797-7A98-B127-6755FBF65925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6394037" y="3936449"/>
                  <a:ext cx="6048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7">
              <p14:nvContentPartPr>
                <p14:cNvPr id="127" name="Ink 126">
                  <a:extLst>
                    <a:ext uri="{FF2B5EF4-FFF2-40B4-BE49-F238E27FC236}">
                      <a16:creationId xmlns:a16="http://schemas.microsoft.com/office/drawing/2014/main" id="{802B5F5F-D92E-E9ED-6D92-F4FCF0F6306C}"/>
                    </a:ext>
                  </a:extLst>
                </p14:cNvPr>
                <p14:cNvContentPartPr/>
                <p14:nvPr/>
              </p14:nvContentPartPr>
              <p14:xfrm>
                <a:off x="6358757" y="4009169"/>
                <a:ext cx="87480" cy="6480"/>
              </p14:xfrm>
            </p:contentPart>
          </mc:Choice>
          <mc:Fallback>
            <p:pic>
              <p:nvPicPr>
                <p:cNvPr id="127" name="Ink 126">
                  <a:extLst>
                    <a:ext uri="{FF2B5EF4-FFF2-40B4-BE49-F238E27FC236}">
                      <a16:creationId xmlns:a16="http://schemas.microsoft.com/office/drawing/2014/main" id="{802B5F5F-D92E-E9ED-6D92-F4FCF0F6306C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6349757" y="4000169"/>
                  <a:ext cx="105120" cy="2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9">
              <p14:nvContentPartPr>
                <p14:cNvPr id="128" name="Ink 127">
                  <a:extLst>
                    <a:ext uri="{FF2B5EF4-FFF2-40B4-BE49-F238E27FC236}">
                      <a16:creationId xmlns:a16="http://schemas.microsoft.com/office/drawing/2014/main" id="{AB449AC1-6CCA-B7B5-27C5-81094943D8DB}"/>
                    </a:ext>
                  </a:extLst>
                </p14:cNvPr>
                <p14:cNvContentPartPr/>
                <p14:nvPr/>
              </p14:nvContentPartPr>
              <p14:xfrm>
                <a:off x="6388997" y="4042289"/>
                <a:ext cx="39960" cy="60840"/>
              </p14:xfrm>
            </p:contentPart>
          </mc:Choice>
          <mc:Fallback>
            <p:pic>
              <p:nvPicPr>
                <p:cNvPr id="128" name="Ink 127">
                  <a:extLst>
                    <a:ext uri="{FF2B5EF4-FFF2-40B4-BE49-F238E27FC236}">
                      <a16:creationId xmlns:a16="http://schemas.microsoft.com/office/drawing/2014/main" id="{AB449AC1-6CCA-B7B5-27C5-81094943D8DB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6379997" y="4033289"/>
                  <a:ext cx="57600" cy="78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CDD5CD16-C5B3-0EF9-B542-606D4307BB79}"/>
              </a:ext>
            </a:extLst>
          </p:cNvPr>
          <p:cNvGrpSpPr/>
          <p:nvPr/>
        </p:nvGrpSpPr>
        <p:grpSpPr>
          <a:xfrm>
            <a:off x="5477283" y="4353212"/>
            <a:ext cx="511200" cy="222120"/>
            <a:chOff x="5477283" y="4353212"/>
            <a:chExt cx="511200" cy="222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1">
              <p14:nvContentPartPr>
                <p14:cNvPr id="69" name="Ink 68">
                  <a:extLst>
                    <a:ext uri="{FF2B5EF4-FFF2-40B4-BE49-F238E27FC236}">
                      <a16:creationId xmlns:a16="http://schemas.microsoft.com/office/drawing/2014/main" id="{1D0383C3-91F6-F5C3-C4AA-B7926EF554D9}"/>
                    </a:ext>
                  </a:extLst>
                </p14:cNvPr>
                <p14:cNvContentPartPr/>
                <p14:nvPr/>
              </p14:nvContentPartPr>
              <p14:xfrm>
                <a:off x="5801283" y="4422332"/>
                <a:ext cx="45720" cy="56520"/>
              </p14:xfrm>
            </p:contentPart>
          </mc:Choice>
          <mc:Fallback>
            <p:pic>
              <p:nvPicPr>
                <p:cNvPr id="69" name="Ink 68">
                  <a:extLst>
                    <a:ext uri="{FF2B5EF4-FFF2-40B4-BE49-F238E27FC236}">
                      <a16:creationId xmlns:a16="http://schemas.microsoft.com/office/drawing/2014/main" id="{1D0383C3-91F6-F5C3-C4AA-B7926EF554D9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5792283" y="4413332"/>
                  <a:ext cx="63360" cy="7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3">
              <p14:nvContentPartPr>
                <p14:cNvPr id="70" name="Ink 69">
                  <a:extLst>
                    <a:ext uri="{FF2B5EF4-FFF2-40B4-BE49-F238E27FC236}">
                      <a16:creationId xmlns:a16="http://schemas.microsoft.com/office/drawing/2014/main" id="{875D7534-A755-29ED-1145-5557C3AB2D3E}"/>
                    </a:ext>
                  </a:extLst>
                </p14:cNvPr>
                <p14:cNvContentPartPr/>
                <p14:nvPr/>
              </p14:nvContentPartPr>
              <p14:xfrm>
                <a:off x="5880123" y="4422692"/>
                <a:ext cx="51840" cy="38880"/>
              </p14:xfrm>
            </p:contentPart>
          </mc:Choice>
          <mc:Fallback>
            <p:pic>
              <p:nvPicPr>
                <p:cNvPr id="70" name="Ink 69">
                  <a:extLst>
                    <a:ext uri="{FF2B5EF4-FFF2-40B4-BE49-F238E27FC236}">
                      <a16:creationId xmlns:a16="http://schemas.microsoft.com/office/drawing/2014/main" id="{875D7534-A755-29ED-1145-5557C3AB2D3E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5871123" y="4414052"/>
                  <a:ext cx="69480" cy="5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5">
              <p14:nvContentPartPr>
                <p14:cNvPr id="71" name="Ink 70">
                  <a:extLst>
                    <a:ext uri="{FF2B5EF4-FFF2-40B4-BE49-F238E27FC236}">
                      <a16:creationId xmlns:a16="http://schemas.microsoft.com/office/drawing/2014/main" id="{864B2C74-AE28-D820-AAAB-8739BDEE3AF9}"/>
                    </a:ext>
                  </a:extLst>
                </p14:cNvPr>
                <p14:cNvContentPartPr/>
                <p14:nvPr/>
              </p14:nvContentPartPr>
              <p14:xfrm>
                <a:off x="5944923" y="4408292"/>
                <a:ext cx="43560" cy="46800"/>
              </p14:xfrm>
            </p:contentPart>
          </mc:Choice>
          <mc:Fallback>
            <p:pic>
              <p:nvPicPr>
                <p:cNvPr id="71" name="Ink 70">
                  <a:extLst>
                    <a:ext uri="{FF2B5EF4-FFF2-40B4-BE49-F238E27FC236}">
                      <a16:creationId xmlns:a16="http://schemas.microsoft.com/office/drawing/2014/main" id="{864B2C74-AE28-D820-AAAB-8739BDEE3AF9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5936283" y="4399652"/>
                  <a:ext cx="61200" cy="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7">
              <p14:nvContentPartPr>
                <p14:cNvPr id="60" name="Ink 59">
                  <a:extLst>
                    <a:ext uri="{FF2B5EF4-FFF2-40B4-BE49-F238E27FC236}">
                      <a16:creationId xmlns:a16="http://schemas.microsoft.com/office/drawing/2014/main" id="{883730EE-EAA6-E76D-CC76-A572CA819F52}"/>
                    </a:ext>
                  </a:extLst>
                </p14:cNvPr>
                <p14:cNvContentPartPr/>
                <p14:nvPr/>
              </p14:nvContentPartPr>
              <p14:xfrm>
                <a:off x="5477283" y="4480652"/>
                <a:ext cx="48240" cy="66600"/>
              </p14:xfrm>
            </p:contentPart>
          </mc:Choice>
          <mc:Fallback>
            <p:pic>
              <p:nvPicPr>
                <p:cNvPr id="60" name="Ink 59">
                  <a:extLst>
                    <a:ext uri="{FF2B5EF4-FFF2-40B4-BE49-F238E27FC236}">
                      <a16:creationId xmlns:a16="http://schemas.microsoft.com/office/drawing/2014/main" id="{883730EE-EAA6-E76D-CC76-A572CA819F52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5468643" y="4471652"/>
                  <a:ext cx="65880" cy="84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9">
              <p14:nvContentPartPr>
                <p14:cNvPr id="61" name="Ink 60">
                  <a:extLst>
                    <a:ext uri="{FF2B5EF4-FFF2-40B4-BE49-F238E27FC236}">
                      <a16:creationId xmlns:a16="http://schemas.microsoft.com/office/drawing/2014/main" id="{0F55B53E-126B-BF42-EF82-4168632E05FC}"/>
                    </a:ext>
                  </a:extLst>
                </p14:cNvPr>
                <p14:cNvContentPartPr/>
                <p14:nvPr/>
              </p14:nvContentPartPr>
              <p14:xfrm>
                <a:off x="5569083" y="4353212"/>
                <a:ext cx="61920" cy="222120"/>
              </p14:xfrm>
            </p:contentPart>
          </mc:Choice>
          <mc:Fallback>
            <p:pic>
              <p:nvPicPr>
                <p:cNvPr id="61" name="Ink 60">
                  <a:extLst>
                    <a:ext uri="{FF2B5EF4-FFF2-40B4-BE49-F238E27FC236}">
                      <a16:creationId xmlns:a16="http://schemas.microsoft.com/office/drawing/2014/main" id="{0F55B53E-126B-BF42-EF82-4168632E05FC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5560083" y="4344572"/>
                  <a:ext cx="79560" cy="239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1">
              <p14:nvContentPartPr>
                <p14:cNvPr id="62" name="Ink 61">
                  <a:extLst>
                    <a:ext uri="{FF2B5EF4-FFF2-40B4-BE49-F238E27FC236}">
                      <a16:creationId xmlns:a16="http://schemas.microsoft.com/office/drawing/2014/main" id="{55983117-A742-9582-377A-D0E4340E1147}"/>
                    </a:ext>
                  </a:extLst>
                </p14:cNvPr>
                <p14:cNvContentPartPr/>
                <p14:nvPr/>
              </p14:nvContentPartPr>
              <p14:xfrm>
                <a:off x="5629203" y="4446812"/>
                <a:ext cx="42840" cy="5400"/>
              </p14:xfrm>
            </p:contentPart>
          </mc:Choice>
          <mc:Fallback>
            <p:pic>
              <p:nvPicPr>
                <p:cNvPr id="62" name="Ink 61">
                  <a:extLst>
                    <a:ext uri="{FF2B5EF4-FFF2-40B4-BE49-F238E27FC236}">
                      <a16:creationId xmlns:a16="http://schemas.microsoft.com/office/drawing/2014/main" id="{55983117-A742-9582-377A-D0E4340E1147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5620203" y="4438172"/>
                  <a:ext cx="60480" cy="2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3">
              <p14:nvContentPartPr>
                <p14:cNvPr id="63" name="Ink 62">
                  <a:extLst>
                    <a:ext uri="{FF2B5EF4-FFF2-40B4-BE49-F238E27FC236}">
                      <a16:creationId xmlns:a16="http://schemas.microsoft.com/office/drawing/2014/main" id="{06463A6A-7D42-CA03-EE2D-37C7638FBDC4}"/>
                    </a:ext>
                  </a:extLst>
                </p14:cNvPr>
                <p14:cNvContentPartPr/>
                <p14:nvPr/>
              </p14:nvContentPartPr>
              <p14:xfrm>
                <a:off x="5642163" y="4455812"/>
                <a:ext cx="5760" cy="47520"/>
              </p14:xfrm>
            </p:contentPart>
          </mc:Choice>
          <mc:Fallback>
            <p:pic>
              <p:nvPicPr>
                <p:cNvPr id="63" name="Ink 62">
                  <a:extLst>
                    <a:ext uri="{FF2B5EF4-FFF2-40B4-BE49-F238E27FC236}">
                      <a16:creationId xmlns:a16="http://schemas.microsoft.com/office/drawing/2014/main" id="{06463A6A-7D42-CA03-EE2D-37C7638FBDC4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5633523" y="4447172"/>
                  <a:ext cx="23400" cy="6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5">
              <p14:nvContentPartPr>
                <p14:cNvPr id="64" name="Ink 63">
                  <a:extLst>
                    <a:ext uri="{FF2B5EF4-FFF2-40B4-BE49-F238E27FC236}">
                      <a16:creationId xmlns:a16="http://schemas.microsoft.com/office/drawing/2014/main" id="{F183A206-1C59-98B3-ECC5-6E67562C0EF2}"/>
                    </a:ext>
                  </a:extLst>
                </p14:cNvPr>
                <p14:cNvContentPartPr/>
                <p14:nvPr/>
              </p14:nvContentPartPr>
              <p14:xfrm>
                <a:off x="5668803" y="4454732"/>
                <a:ext cx="12240" cy="52920"/>
              </p14:xfrm>
            </p:contentPart>
          </mc:Choice>
          <mc:Fallback>
            <p:pic>
              <p:nvPicPr>
                <p:cNvPr id="64" name="Ink 63">
                  <a:extLst>
                    <a:ext uri="{FF2B5EF4-FFF2-40B4-BE49-F238E27FC236}">
                      <a16:creationId xmlns:a16="http://schemas.microsoft.com/office/drawing/2014/main" id="{F183A206-1C59-98B3-ECC5-6E67562C0EF2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5659803" y="4446092"/>
                  <a:ext cx="2988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7">
              <p14:nvContentPartPr>
                <p14:cNvPr id="129" name="Ink 128">
                  <a:extLst>
                    <a:ext uri="{FF2B5EF4-FFF2-40B4-BE49-F238E27FC236}">
                      <a16:creationId xmlns:a16="http://schemas.microsoft.com/office/drawing/2014/main" id="{F60D3747-C3A4-3226-EF87-A9D90D1AA8BD}"/>
                    </a:ext>
                  </a:extLst>
                </p14:cNvPr>
                <p14:cNvContentPartPr/>
                <p14:nvPr/>
              </p14:nvContentPartPr>
              <p14:xfrm>
                <a:off x="5733797" y="4402649"/>
                <a:ext cx="53640" cy="79560"/>
              </p14:xfrm>
            </p:contentPart>
          </mc:Choice>
          <mc:Fallback>
            <p:pic>
              <p:nvPicPr>
                <p:cNvPr id="129" name="Ink 128">
                  <a:extLst>
                    <a:ext uri="{FF2B5EF4-FFF2-40B4-BE49-F238E27FC236}">
                      <a16:creationId xmlns:a16="http://schemas.microsoft.com/office/drawing/2014/main" id="{F60D3747-C3A4-3226-EF87-A9D90D1AA8BD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5724797" y="4393649"/>
                  <a:ext cx="71280" cy="97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5C8F52CF-BFAD-ECB5-A1E0-F933F177CF51}"/>
              </a:ext>
            </a:extLst>
          </p:cNvPr>
          <p:cNvGrpSpPr/>
          <p:nvPr/>
        </p:nvGrpSpPr>
        <p:grpSpPr>
          <a:xfrm>
            <a:off x="5908280" y="4686689"/>
            <a:ext cx="350640" cy="293760"/>
            <a:chOff x="5908280" y="4686689"/>
            <a:chExt cx="350640" cy="293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9">
              <p14:nvContentPartPr>
                <p14:cNvPr id="85" name="Ink 84">
                  <a:extLst>
                    <a:ext uri="{FF2B5EF4-FFF2-40B4-BE49-F238E27FC236}">
                      <a16:creationId xmlns:a16="http://schemas.microsoft.com/office/drawing/2014/main" id="{8E3665BA-7141-F4D1-F104-BD16953CDB3C}"/>
                    </a:ext>
                  </a:extLst>
                </p14:cNvPr>
                <p14:cNvContentPartPr/>
                <p14:nvPr/>
              </p14:nvContentPartPr>
              <p14:xfrm>
                <a:off x="6002960" y="4717649"/>
                <a:ext cx="83160" cy="50400"/>
              </p14:xfrm>
            </p:contentPart>
          </mc:Choice>
          <mc:Fallback>
            <p:pic>
              <p:nvPicPr>
                <p:cNvPr id="85" name="Ink 84">
                  <a:extLst>
                    <a:ext uri="{FF2B5EF4-FFF2-40B4-BE49-F238E27FC236}">
                      <a16:creationId xmlns:a16="http://schemas.microsoft.com/office/drawing/2014/main" id="{8E3665BA-7141-F4D1-F104-BD16953CDB3C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5994320" y="4708649"/>
                  <a:ext cx="100800" cy="6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1">
              <p14:nvContentPartPr>
                <p14:cNvPr id="86" name="Ink 85">
                  <a:extLst>
                    <a:ext uri="{FF2B5EF4-FFF2-40B4-BE49-F238E27FC236}">
                      <a16:creationId xmlns:a16="http://schemas.microsoft.com/office/drawing/2014/main" id="{76B9CE21-C27F-F922-BC6B-7C121B57984A}"/>
                    </a:ext>
                  </a:extLst>
                </p14:cNvPr>
                <p14:cNvContentPartPr/>
                <p14:nvPr/>
              </p14:nvContentPartPr>
              <p14:xfrm>
                <a:off x="6046880" y="4686689"/>
                <a:ext cx="6480" cy="14400"/>
              </p14:xfrm>
            </p:contentPart>
          </mc:Choice>
          <mc:Fallback>
            <p:pic>
              <p:nvPicPr>
                <p:cNvPr id="86" name="Ink 85">
                  <a:extLst>
                    <a:ext uri="{FF2B5EF4-FFF2-40B4-BE49-F238E27FC236}">
                      <a16:creationId xmlns:a16="http://schemas.microsoft.com/office/drawing/2014/main" id="{76B9CE21-C27F-F922-BC6B-7C121B57984A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6037880" y="4678049"/>
                  <a:ext cx="24120" cy="3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3">
              <p14:nvContentPartPr>
                <p14:cNvPr id="87" name="Ink 86">
                  <a:extLst>
                    <a:ext uri="{FF2B5EF4-FFF2-40B4-BE49-F238E27FC236}">
                      <a16:creationId xmlns:a16="http://schemas.microsoft.com/office/drawing/2014/main" id="{52348F14-1218-F75C-5A2D-A3A10B871988}"/>
                    </a:ext>
                  </a:extLst>
                </p14:cNvPr>
                <p14:cNvContentPartPr/>
                <p14:nvPr/>
              </p14:nvContentPartPr>
              <p14:xfrm>
                <a:off x="5920880" y="4816289"/>
                <a:ext cx="247320" cy="36000"/>
              </p14:xfrm>
            </p:contentPart>
          </mc:Choice>
          <mc:Fallback>
            <p:pic>
              <p:nvPicPr>
                <p:cNvPr id="87" name="Ink 86">
                  <a:extLst>
                    <a:ext uri="{FF2B5EF4-FFF2-40B4-BE49-F238E27FC236}">
                      <a16:creationId xmlns:a16="http://schemas.microsoft.com/office/drawing/2014/main" id="{52348F14-1218-F75C-5A2D-A3A10B871988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5911880" y="4807649"/>
                  <a:ext cx="264960" cy="5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5">
              <p14:nvContentPartPr>
                <p14:cNvPr id="88" name="Ink 87">
                  <a:extLst>
                    <a:ext uri="{FF2B5EF4-FFF2-40B4-BE49-F238E27FC236}">
                      <a16:creationId xmlns:a16="http://schemas.microsoft.com/office/drawing/2014/main" id="{587C2AF8-0B2F-B3CE-C4CE-00A4443709B1}"/>
                    </a:ext>
                  </a:extLst>
                </p14:cNvPr>
                <p14:cNvContentPartPr/>
                <p14:nvPr/>
              </p14:nvContentPartPr>
              <p14:xfrm>
                <a:off x="5908280" y="4918889"/>
                <a:ext cx="58320" cy="1440"/>
              </p14:xfrm>
            </p:contentPart>
          </mc:Choice>
          <mc:Fallback>
            <p:pic>
              <p:nvPicPr>
                <p:cNvPr id="88" name="Ink 87">
                  <a:extLst>
                    <a:ext uri="{FF2B5EF4-FFF2-40B4-BE49-F238E27FC236}">
                      <a16:creationId xmlns:a16="http://schemas.microsoft.com/office/drawing/2014/main" id="{587C2AF8-0B2F-B3CE-C4CE-00A4443709B1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5899280" y="4909889"/>
                  <a:ext cx="75960" cy="1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7">
              <p14:nvContentPartPr>
                <p14:cNvPr id="93" name="Ink 92">
                  <a:extLst>
                    <a:ext uri="{FF2B5EF4-FFF2-40B4-BE49-F238E27FC236}">
                      <a16:creationId xmlns:a16="http://schemas.microsoft.com/office/drawing/2014/main" id="{9240E31E-AF31-DA06-57A6-BD88F58D17FA}"/>
                    </a:ext>
                  </a:extLst>
                </p14:cNvPr>
                <p14:cNvContentPartPr/>
                <p14:nvPr/>
              </p14:nvContentPartPr>
              <p14:xfrm>
                <a:off x="6076760" y="4928609"/>
                <a:ext cx="35640" cy="35280"/>
              </p14:xfrm>
            </p:contentPart>
          </mc:Choice>
          <mc:Fallback>
            <p:pic>
              <p:nvPicPr>
                <p:cNvPr id="93" name="Ink 92">
                  <a:extLst>
                    <a:ext uri="{FF2B5EF4-FFF2-40B4-BE49-F238E27FC236}">
                      <a16:creationId xmlns:a16="http://schemas.microsoft.com/office/drawing/2014/main" id="{9240E31E-AF31-DA06-57A6-BD88F58D17FA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6068120" y="4919969"/>
                  <a:ext cx="53280" cy="5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9">
              <p14:nvContentPartPr>
                <p14:cNvPr id="94" name="Ink 93">
                  <a:extLst>
                    <a:ext uri="{FF2B5EF4-FFF2-40B4-BE49-F238E27FC236}">
                      <a16:creationId xmlns:a16="http://schemas.microsoft.com/office/drawing/2014/main" id="{FA52457D-E662-A3BF-2AD2-FBC7125E1708}"/>
                    </a:ext>
                  </a:extLst>
                </p14:cNvPr>
                <p14:cNvContentPartPr/>
                <p14:nvPr/>
              </p14:nvContentPartPr>
              <p14:xfrm>
                <a:off x="6147320" y="4915649"/>
                <a:ext cx="52200" cy="40320"/>
              </p14:xfrm>
            </p:contentPart>
          </mc:Choice>
          <mc:Fallback>
            <p:pic>
              <p:nvPicPr>
                <p:cNvPr id="94" name="Ink 93">
                  <a:extLst>
                    <a:ext uri="{FF2B5EF4-FFF2-40B4-BE49-F238E27FC236}">
                      <a16:creationId xmlns:a16="http://schemas.microsoft.com/office/drawing/2014/main" id="{FA52457D-E662-A3BF-2AD2-FBC7125E1708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6138320" y="4907009"/>
                  <a:ext cx="69840" cy="5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1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80EB6B4C-9E85-FA10-3CF1-31416F6B96DD}"/>
                    </a:ext>
                  </a:extLst>
                </p14:cNvPr>
                <p14:cNvContentPartPr/>
                <p14:nvPr/>
              </p14:nvContentPartPr>
              <p14:xfrm>
                <a:off x="6206720" y="4899089"/>
                <a:ext cx="52200" cy="46800"/>
              </p14:xfrm>
            </p:contentPart>
          </mc:Choice>
          <mc:Fallback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80EB6B4C-9E85-FA10-3CF1-31416F6B96DD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6197720" y="4890089"/>
                  <a:ext cx="69840" cy="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3">
              <p14:nvContentPartPr>
                <p14:cNvPr id="132" name="Ink 131">
                  <a:extLst>
                    <a:ext uri="{FF2B5EF4-FFF2-40B4-BE49-F238E27FC236}">
                      <a16:creationId xmlns:a16="http://schemas.microsoft.com/office/drawing/2014/main" id="{409A5317-1E85-2646-7CAE-974235F1055D}"/>
                    </a:ext>
                  </a:extLst>
                </p14:cNvPr>
                <p14:cNvContentPartPr/>
                <p14:nvPr/>
              </p14:nvContentPartPr>
              <p14:xfrm>
                <a:off x="6003077" y="4886489"/>
                <a:ext cx="39960" cy="73800"/>
              </p14:xfrm>
            </p:contentPart>
          </mc:Choice>
          <mc:Fallback>
            <p:pic>
              <p:nvPicPr>
                <p:cNvPr id="132" name="Ink 131">
                  <a:extLst>
                    <a:ext uri="{FF2B5EF4-FFF2-40B4-BE49-F238E27FC236}">
                      <a16:creationId xmlns:a16="http://schemas.microsoft.com/office/drawing/2014/main" id="{409A5317-1E85-2646-7CAE-974235F1055D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5994077" y="4877849"/>
                  <a:ext cx="57600" cy="91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5">
              <p14:nvContentPartPr>
                <p14:cNvPr id="133" name="Ink 132">
                  <a:extLst>
                    <a:ext uri="{FF2B5EF4-FFF2-40B4-BE49-F238E27FC236}">
                      <a16:creationId xmlns:a16="http://schemas.microsoft.com/office/drawing/2014/main" id="{832EB50A-E4A1-7502-3FD4-4C2BE92E4C40}"/>
                    </a:ext>
                  </a:extLst>
                </p14:cNvPr>
                <p14:cNvContentPartPr/>
                <p14:nvPr/>
              </p14:nvContentPartPr>
              <p14:xfrm>
                <a:off x="5927477" y="4923569"/>
                <a:ext cx="4320" cy="52920"/>
              </p14:xfrm>
            </p:contentPart>
          </mc:Choice>
          <mc:Fallback>
            <p:pic>
              <p:nvPicPr>
                <p:cNvPr id="133" name="Ink 132">
                  <a:extLst>
                    <a:ext uri="{FF2B5EF4-FFF2-40B4-BE49-F238E27FC236}">
                      <a16:creationId xmlns:a16="http://schemas.microsoft.com/office/drawing/2014/main" id="{832EB50A-E4A1-7502-3FD4-4C2BE92E4C40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5918837" y="4914929"/>
                  <a:ext cx="2196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7">
              <p14:nvContentPartPr>
                <p14:cNvPr id="134" name="Ink 133">
                  <a:extLst>
                    <a:ext uri="{FF2B5EF4-FFF2-40B4-BE49-F238E27FC236}">
                      <a16:creationId xmlns:a16="http://schemas.microsoft.com/office/drawing/2014/main" id="{ECBF88D6-3D1A-205A-8D35-033D01056582}"/>
                    </a:ext>
                  </a:extLst>
                </p14:cNvPr>
                <p14:cNvContentPartPr/>
                <p14:nvPr/>
              </p14:nvContentPartPr>
              <p14:xfrm>
                <a:off x="5951237" y="4919609"/>
                <a:ext cx="7560" cy="60840"/>
              </p14:xfrm>
            </p:contentPart>
          </mc:Choice>
          <mc:Fallback>
            <p:pic>
              <p:nvPicPr>
                <p:cNvPr id="134" name="Ink 133">
                  <a:extLst>
                    <a:ext uri="{FF2B5EF4-FFF2-40B4-BE49-F238E27FC236}">
                      <a16:creationId xmlns:a16="http://schemas.microsoft.com/office/drawing/2014/main" id="{ECBF88D6-3D1A-205A-8D35-033D01056582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5942237" y="4910969"/>
                  <a:ext cx="25200" cy="784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98747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5</Words>
  <Application>Microsoft Office PowerPoint</Application>
  <PresentationFormat>Widescreen</PresentationFormat>
  <Paragraphs>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3D Flows Solver Docum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dy Cai</dc:creator>
  <cp:lastModifiedBy>Andy Cai</cp:lastModifiedBy>
  <cp:revision>1</cp:revision>
  <dcterms:created xsi:type="dcterms:W3CDTF">2024-11-04T01:40:14Z</dcterms:created>
  <dcterms:modified xsi:type="dcterms:W3CDTF">2024-11-07T22:23:18Z</dcterms:modified>
</cp:coreProperties>
</file>